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256" r:id="rId2"/>
    <p:sldId id="257" r:id="rId3"/>
    <p:sldId id="258" r:id="rId4"/>
    <p:sldId id="288" r:id="rId5"/>
    <p:sldId id="289" r:id="rId6"/>
    <p:sldId id="290" r:id="rId7"/>
    <p:sldId id="291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92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94" r:id="rId30"/>
    <p:sldId id="284" r:id="rId31"/>
    <p:sldId id="285" r:id="rId32"/>
    <p:sldId id="286" r:id="rId33"/>
    <p:sldId id="287" r:id="rId34"/>
  </p:sldIdLst>
  <p:sldSz cx="12192000" cy="6858000"/>
  <p:notesSz cx="6858000" cy="9144000"/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0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10" autoAdjust="0"/>
    <p:restoredTop sz="94093" autoAdjust="0"/>
  </p:normalViewPr>
  <p:slideViewPr>
    <p:cSldViewPr snapToGrid="0">
      <p:cViewPr varScale="1">
        <p:scale>
          <a:sx n="178" d="100"/>
          <a:sy n="178" d="100"/>
        </p:scale>
        <p:origin x="664" y="1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1254"/>
    </p:cViewPr>
  </p:sorterViewPr>
  <p:notesViewPr>
    <p:cSldViewPr snapToGrid="0" showGuides="1">
      <p:cViewPr varScale="1">
        <p:scale>
          <a:sx n="150" d="100"/>
          <a:sy n="150" d="100"/>
        </p:scale>
        <p:origin x="4224" y="1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84D513B-7638-DAD6-7308-F32497647A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30033-B6E4-4109-3DFA-833B0142A8A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CC4793-47D2-3840-A28A-00BF7783C1F5}" type="datetimeFigureOut">
              <a:rPr lang="en-US" smtClean="0"/>
              <a:t>7/22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338E13-C38B-8C03-062B-31363D588F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BFF5C0-0BE2-F23B-7FA1-85D5BC4C09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0F4806-4740-AD4A-A8E1-48AAD509DB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90245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62189C-3680-4E34-AEC6-9D75DCBF6EAC}" type="datetimeFigureOut">
              <a:rPr lang="de-CH" smtClean="0"/>
              <a:t>22.07.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E3F41-BE06-4DE3-A191-16FB7717111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328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518453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16617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22371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543147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3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616615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84741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svg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03B410E-C319-D1E1-C0AC-8ACB67A99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9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7" y="1577975"/>
            <a:ext cx="10316307" cy="1539299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 of your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847" y="3740726"/>
            <a:ext cx="10316307" cy="1526309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noProof="0"/>
              <a:t>Text</a:t>
            </a:r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29000"/>
            <a:ext cx="2808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5087112-A224-964B-32E3-DF16AB75EF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C03FF2-FBF1-A407-10B6-7EBD3ABCA8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562EF5F-2E2B-94E7-6AE3-1945BF811F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020897-1D32-0B03-A4C4-81F5C05AFD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25167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A90899-A4C8-752A-5D1C-111AA2B50F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6624" y="2016000"/>
            <a:ext cx="10317600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6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000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/>
              <a:t>Headline add-on, Arial Italic, 18 pt, oran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C29A70-B5A7-321C-D517-8E7C6FFAE3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81F0B-4246-4445-F87C-7B1D1F2BCA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AD5F63-AEE5-D99F-15B8-88C27C52BB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74513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4924914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Second Bullet, 26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C434F63B-A1E3-D216-DA84-E887C21167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461" y="1577975"/>
            <a:ext cx="4923692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Second Bullet, 26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5822C-05E6-716E-4B02-4A6292563A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38E415-B088-DB10-F390-DA003BD8CA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00506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_lef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9225FFE-1736-C769-3C9B-90F9955C62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6624" y="1575201"/>
            <a:ext cx="4924800" cy="3409928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1-Column Text, Arial, 18 pt, black</a:t>
            </a:r>
          </a:p>
          <a:p>
            <a:pPr lvl="1"/>
            <a:endParaRPr lang="en-GB" noProof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9354" y="1575201"/>
            <a:ext cx="4924800" cy="4346174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DB5D0F4-A9C6-3CA4-DFA5-327FB4E85F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6624" y="5160441"/>
            <a:ext cx="4924800" cy="792373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8CA990-B59C-346B-9D77-70D444E0B89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12E421-22CD-361E-694F-A1B0EC4E0A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9ABE791-0F4E-C59F-DCC3-ACEC3EDC2F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37635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T_righ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2014539"/>
            <a:ext cx="4924800" cy="3906836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03026FC-218C-C5AE-85BC-B669936B57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0461" y="2014539"/>
            <a:ext cx="4924800" cy="3077093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1-Column Text, Arial, 18 pt, black</a:t>
            </a:r>
          </a:p>
          <a:p>
            <a:pPr lvl="1"/>
            <a:endParaRPr lang="en-GB" noProof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178E150-19BD-8AF3-6D7D-CFCB88FAE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0460" y="5266944"/>
            <a:ext cx="4924800" cy="685870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9D5B04-9C61-8EF9-BF85-893792A284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36624" y="6532505"/>
            <a:ext cx="5147377" cy="175312"/>
          </a:xfrm>
        </p:spPr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61F674-E57E-8145-87C1-7419A2AB0E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3EDDC35-57A4-F86D-E44F-7CCCB9B3E5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37015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T+3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7847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0CC73E1-9EED-A736-9EE2-90B6C7E9D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847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3-Column Text, Arial, 15 pt, black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0F4346D0-02CE-145D-E53E-41F5EADE59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261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F83300C-555C-31AE-7657-08C3B80290E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738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E4E8AAF-47DA-2646-0993-9FAA209F00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261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3-Column Text, Arial, 15 pt, black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CB2CDA3-9E5A-D7B5-CDD2-059F29B454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738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3-Column Text, Arial, 15 pt, black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35636B05-E0D2-E8E0-58C6-6DA554F881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788A608-208B-67AE-B68E-9EC50DE6FE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55841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T+2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B9678422-1EA6-0112-76F1-D43B34A286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0080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E322F4-5356-944A-0818-280181F03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7847" y="1576800"/>
            <a:ext cx="4924800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2-Column Text</a:t>
            </a:r>
          </a:p>
          <a:p>
            <a:pPr lvl="0"/>
            <a:r>
              <a:rPr lang="en-GB" noProof="0"/>
              <a:t>Arial, 24 pt, white, left aligned</a:t>
            </a:r>
          </a:p>
          <a:p>
            <a:pPr lvl="8"/>
            <a:endParaRPr lang="en-GB" noProof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C0C8FC0-5529-1DAB-1C7E-A516CA9BB0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9354" y="1576800"/>
            <a:ext cx="4924800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2-Column Text</a:t>
            </a:r>
          </a:p>
          <a:p>
            <a:pPr lvl="0"/>
            <a:r>
              <a:rPr lang="en-GB" noProof="0"/>
              <a:t>Arial, 24 pt, white, left aligned</a:t>
            </a:r>
          </a:p>
          <a:p>
            <a:pPr lvl="8"/>
            <a:endParaRPr lang="en-GB" noProof="0"/>
          </a:p>
        </p:txBody>
      </p:sp>
      <p:sp>
        <p:nvSpPr>
          <p:cNvPr id="9" name="SmartArt-Platzhalter 5">
            <a:extLst>
              <a:ext uri="{FF2B5EF4-FFF2-40B4-BE49-F238E27FC236}">
                <a16:creationId xmlns:a16="http://schemas.microsoft.com/office/drawing/2014/main" id="{D4AB1337-D0F8-A165-15C7-B9FF7CF676B8}"/>
              </a:ext>
            </a:extLst>
          </p:cNvPr>
          <p:cNvSpPr>
            <a:spLocks noGrp="1"/>
          </p:cNvSpPr>
          <p:nvPr>
            <p:ph type="dgm" sz="quarter" idx="11" hasCustomPrompt="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noProof="0"/>
              <a:t>Klicken Sie auf das Symbol, um die SmartArt-Grafik hinzuzufügen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2BFBF2C-A55F-B626-C50D-A8F72A2D9B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342B3AA-B7D4-AB0C-995D-7AD67C66D6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535576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T+3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DDAE350-0D3C-DE36-457E-5E66E560F5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41CE681-BD04-D23B-F809-9BA05C49E6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E264DBBD-A17B-04A4-F5FC-619ACBB321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923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3-Column Text</a:t>
            </a:r>
            <a:br>
              <a:rPr lang="en-GB" noProof="0"/>
            </a:br>
            <a:r>
              <a:rPr lang="en-GB" noProof="0"/>
              <a:t>Arial, 18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1E7496E0-C109-6668-DD05-53913CC34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363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3-Column Text</a:t>
            </a:r>
            <a:br>
              <a:rPr lang="en-GB" noProof="0"/>
            </a:br>
            <a:r>
              <a:rPr lang="en-GB" noProof="0"/>
              <a:t>Arial, 18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CC8DC6C-A22B-9060-9C47-9FD44872C9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037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3-Column Text</a:t>
            </a:r>
            <a:br>
              <a:rPr lang="en-GB" noProof="0"/>
            </a:br>
            <a:r>
              <a:rPr lang="en-GB" noProof="0"/>
              <a:t>Arial, 18 pt, white, left aligned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6ABCA5BC-4B22-3F1B-51FD-31BCF514B4C2}"/>
              </a:ext>
            </a:extLst>
          </p:cNvPr>
          <p:cNvSpPr>
            <a:spLocks noGrp="1"/>
          </p:cNvSpPr>
          <p:nvPr>
            <p:ph type="dgm" sz="quarter" idx="11" hasCustomPrompt="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noProof="0"/>
              <a:t>Klicken Sie auf das Symbol, um die SmartArt-Grafik hinzuzufügen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01132C2A-4994-04A6-C2A4-EF085CC4E1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7CE004A-9304-C6D7-84EE-341B30616A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84580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T+4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7F5E1F9A-AE9C-97D8-0568-8597094C67B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140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BD03FEE-4DCD-7D90-DAEB-5905A802376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5FEA1EA0-5562-219A-FDDC-70D8023684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0140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87DF8-0AC2-49DE-999A-CBC0F45FA3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847" y="1581150"/>
            <a:ext cx="4689230" cy="1391309"/>
          </a:xfrm>
        </p:spPr>
        <p:txBody>
          <a:bodyPr anchor="t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B8E777-CE26-4125-6914-F3392533DF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64923" y="1581150"/>
            <a:ext cx="4689230" cy="1391309"/>
          </a:xfrm>
        </p:spPr>
        <p:txBody>
          <a:bodyPr anchor="t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A81CF8B-A37E-09B1-47B9-4F88C24C85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7847" y="50155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A07C3E46-41C2-47CB-D2FD-25B518F0CE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4923" y="5015551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8" name="SmartArt-Platzhalter 5">
            <a:extLst>
              <a:ext uri="{FF2B5EF4-FFF2-40B4-BE49-F238E27FC236}">
                <a16:creationId xmlns:a16="http://schemas.microsoft.com/office/drawing/2014/main" id="{CFA5C265-66CB-EA9E-1006-215F841338C0}"/>
              </a:ext>
            </a:extLst>
          </p:cNvPr>
          <p:cNvSpPr>
            <a:spLocks noGrp="1"/>
          </p:cNvSpPr>
          <p:nvPr>
            <p:ph type="dgm" sz="quarter" idx="11" hasCustomPrompt="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noProof="0"/>
              <a:t>Klicken Sie auf das Symbol, um die SmartArt-Grafik hinzuzufügen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220114A-ABB5-0A09-FF61-2516B8BFF1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C7AEE75-3142-E10C-C339-7A39C26AD7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026958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T+6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6181CF1F-30E6-36E0-B375-631C095847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352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B09398C8-55E0-2686-999B-D58C6499FA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676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37ECC04-7853-9A2F-A5D6-06265A69C5A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DA0933D5-505E-BF1C-C98B-A0FDFCE965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76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EC722AD-49A0-EEF0-464A-3B723682E99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352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620907A4-1574-D634-5960-45663CBAF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923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FBE1064-816E-B03D-B92D-BC11B67FF3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6324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94D695A-6379-AE12-4561-221C2A05A6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03725" y="1581150"/>
            <a:ext cx="3119354" cy="148244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CBC5F7F-7524-9228-C498-77B3F6BE9F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23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4E61D33-FC02-F350-F412-4E7D8E1DA0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3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CB1DFC4C-4616-3BC0-218F-3B9D8E7FA0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37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27" name="SmartArt-Platzhalter 5">
            <a:extLst>
              <a:ext uri="{FF2B5EF4-FFF2-40B4-BE49-F238E27FC236}">
                <a16:creationId xmlns:a16="http://schemas.microsoft.com/office/drawing/2014/main" id="{014D9550-C751-E6B9-C1DE-A91B8E41A10C}"/>
              </a:ext>
            </a:extLst>
          </p:cNvPr>
          <p:cNvSpPr>
            <a:spLocks noGrp="1"/>
          </p:cNvSpPr>
          <p:nvPr>
            <p:ph type="dgm" sz="quarter" idx="11" hasCustomPrompt="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noProof="0"/>
              <a:t>Klicken Sie auf das Symbol, um die SmartArt-Grafik hinzuzufügen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BE4E6D84-9319-CAA9-DA59-8F685CDBB5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7648DC4-1A05-3397-B64F-EA56D1503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46475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C10E57-699A-8121-DD38-6408EA13F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79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1" y="3429000"/>
            <a:ext cx="5627688" cy="2952750"/>
          </a:xfrm>
          <a:solidFill>
            <a:srgbClr val="D2108D"/>
          </a:solidFill>
          <a:ln w="12700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vert="horz" lIns="216000" tIns="216000" rIns="216000" bIns="216000" rtlCol="0" anchor="b">
            <a:noAutofit/>
          </a:bodyPr>
          <a:lstStyle>
            <a:lvl1pPr>
              <a:defRPr lang="de-CH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19374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31360156-9255-A812-BE46-051A4B9F1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4314" y="1576800"/>
            <a:ext cx="4689473" cy="1312200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reative Layout 01, Arial, 18 pt, black</a:t>
            </a:r>
          </a:p>
          <a:p>
            <a:pPr lvl="1"/>
            <a:endParaRPr lang="en-GB" noProof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366B51A8-64AD-532B-7734-18185427A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F9B5CC1-94D6-D5BC-787E-1704B085B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32100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D95539-5CB2-37ED-D38B-E8BD00FC8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32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his is the chapter title and </a:t>
            </a:r>
            <a:br>
              <a:rPr lang="en-GB" noProof="0"/>
            </a:br>
            <a:r>
              <a:rPr lang="en-GB" noProof="0"/>
              <a:t>it can go on 3 to 4 lines.</a:t>
            </a:r>
            <a:br>
              <a:rPr lang="en-GB" noProof="0"/>
            </a:br>
            <a:r>
              <a:rPr lang="en-GB" noProof="0"/>
              <a:t>Arial Bold, 40 pt, whit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30BE762-1985-7487-78B3-EEFF868E43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60E660C-21A3-BE2A-E960-5F9CA7937F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248086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74991E2-D260-5369-FE3C-050962E97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0" y="1577975"/>
            <a:ext cx="5629275" cy="4803775"/>
          </a:xfrm>
          <a:solidFill>
            <a:srgbClr val="D2108D"/>
          </a:solidFill>
          <a:ln w="12700">
            <a:solidFill>
              <a:schemeClr val="bg1"/>
            </a:solidFill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89475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4AD3199E-D2A2-C622-CFB7-A971643DE7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25" y="2015999"/>
            <a:ext cx="4221163" cy="3905375"/>
          </a:xfrm>
        </p:spPr>
        <p:txBody>
          <a:bodyPr anchor="b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Creative Layout 2</a:t>
            </a:r>
            <a:br>
              <a:rPr lang="en-GB" noProof="0"/>
            </a:br>
            <a:r>
              <a:rPr lang="en-GB" noProof="0"/>
              <a:t>Arial, 18 pt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EA967206-4A6D-E8AC-A273-096B2AD908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E4F271B-BC30-DD6E-01F2-1B040C94A8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780849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A36C70-93D0-B533-F9A3-2158AABFC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Mastertitelformat bearbeiten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2B69BE6-61ED-1FF0-912A-EEA44FCEC43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8A7CC7B-7D64-595D-1B3D-31D9CD5936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7EF8A4A0-360F-EDDD-4628-6C42C6749FB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A2074F46-A69C-7568-C74B-BDAA38DD2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10317600" cy="30174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18 pt</a:t>
            </a:r>
          </a:p>
          <a:p>
            <a:pPr lvl="5"/>
            <a:r>
              <a:rPr lang="en-GB" noProof="0"/>
              <a:t>Second Bullet, 24 pt, orange</a:t>
            </a:r>
          </a:p>
          <a:p>
            <a:pPr lvl="6"/>
            <a:endParaRPr lang="en-GB" noProof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1285ADF-237F-D14E-C3AC-F8AA54607B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10106319" y="2664437"/>
            <a:ext cx="35480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B6FEC64-D37C-051D-E1C8-B2FA08E1E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86751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576799"/>
            <a:ext cx="2805231" cy="5281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B195C9-522F-CEAB-1C05-9C1EC8BEA3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1" name="Bildplatzhalter 9">
            <a:extLst>
              <a:ext uri="{FF2B5EF4-FFF2-40B4-BE49-F238E27FC236}">
                <a16:creationId xmlns:a16="http://schemas.microsoft.com/office/drawing/2014/main" id="{FC341FB4-1140-6179-CA27-0BE073B9EE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16032" y="1576799"/>
            <a:ext cx="4213245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41" name="Bildplatzhalter 9">
            <a:extLst>
              <a:ext uri="{FF2B5EF4-FFF2-40B4-BE49-F238E27FC236}">
                <a16:creationId xmlns:a16="http://schemas.microsoft.com/office/drawing/2014/main" id="{03610043-1BC0-48DC-2A7E-2CB01ED39B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040076" y="1576798"/>
            <a:ext cx="5151924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E45F635-E437-C8B0-8CC0-C0403F9A404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040075" y="4222798"/>
            <a:ext cx="2335894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43" name="Bildplatzhalter 9">
            <a:extLst>
              <a:ext uri="{FF2B5EF4-FFF2-40B4-BE49-F238E27FC236}">
                <a16:creationId xmlns:a16="http://schemas.microsoft.com/office/drawing/2014/main" id="{CE7AAD22-C490-64D4-E788-84D709B03A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86769" y="4222798"/>
            <a:ext cx="2805230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44" name="Bildplatzhalter 9">
            <a:extLst>
              <a:ext uri="{FF2B5EF4-FFF2-40B4-BE49-F238E27FC236}">
                <a16:creationId xmlns:a16="http://schemas.microsoft.com/office/drawing/2014/main" id="{DB8A2C7A-F427-FFE2-6297-547E780EB7D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816032" y="4222799"/>
            <a:ext cx="4213245" cy="2635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23BDCB-795F-231D-FF3E-008BDC8C06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582973" y="3935333"/>
            <a:ext cx="4594755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601E13F-B518-21F5-B2F3-C5F14CA68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37348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4I+4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22A8B9EF-BF4A-23C0-AA21-A52725BB8A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662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rial, 15 pt, black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C36E8371-00EC-6677-234D-7EE2B6617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5671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rial regular, 15 p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40B7130C-F961-1974-91CC-4BC0C76D1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4718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rial regular, 15 pt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2366CB34-7829-60F0-4F0F-D55C2C7ABC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7376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rial regular, 15 pt</a:t>
            </a:r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75E558CD-F4DF-63AC-B12B-538A53195F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18371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B9933D4C-5FB5-7C95-E310-DF0D24675C6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00118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8894D095-CFBA-AADA-0B72-B739A72782B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681865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C6D710B-0D56-94BD-FD30-04A0AFC3FD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38115AF-39D8-6DB6-79AE-5A9800634C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95918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FED09EC-46EE-D375-6E30-077FAC151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  <p:txBody>
          <a:bodyPr wrap="square" lIns="216000" tIns="216000" rIns="216000" b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00" y="1576800"/>
            <a:ext cx="10317600" cy="247647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1pPr>
            <a:lvl2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3pPr>
            <a:lvl4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4pPr>
            <a:lvl5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5pPr>
            <a:lvl6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6pPr>
            <a:lvl7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7pPr>
            <a:lvl8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8pPr>
            <a:lvl9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9pPr>
          </a:lstStyle>
          <a:p>
            <a:pPr lvl="0"/>
            <a:r>
              <a:rPr lang="en-GB" noProof="0"/>
              <a:t>Quote on full background image</a:t>
            </a:r>
          </a:p>
          <a:p>
            <a:pPr lvl="0"/>
            <a:r>
              <a:rPr lang="en-GB" noProof="0"/>
              <a:t>Georgia, Italic, 40 pt, centre aligned</a:t>
            </a:r>
          </a:p>
          <a:p>
            <a:pPr lvl="1"/>
            <a:r>
              <a:rPr lang="en-GB" noProof="0"/>
              <a:t>For longer Quotes, Georgia, Italic, 30 pt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102E4235-1D94-B0B0-97E6-75498170299E}"/>
              </a:ext>
            </a:extLst>
          </p:cNvPr>
          <p:cNvSpPr>
            <a:spLocks noGrp="1"/>
          </p:cNvSpPr>
          <p:nvPr>
            <p:ph type="dgm" sz="quarter" idx="11" hasCustomPrompt="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noProof="0"/>
              <a:t>Klicken Sie auf das Symbol, um die SmartArt-Grafik hinzuzufügen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3D8AFA1-041C-D431-55FA-3EA3AEA6C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7200" y="5160142"/>
            <a:ext cx="10317600" cy="842153"/>
          </a:xfr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Author</a:t>
            </a:r>
          </a:p>
          <a:p>
            <a:pPr lvl="1"/>
            <a:endParaRPr lang="en-GB" noProof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690B2BB-FC0E-6348-BB6C-ACFECB3CC9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45ED4CA-85E3-AA5F-0AE8-0DAC1DA85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31141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803D47-E512-EF06-12E2-B7C74415E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514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7888" y="409433"/>
            <a:ext cx="6096000" cy="5511942"/>
          </a:xfrm>
        </p:spPr>
        <p:txBody>
          <a:bodyPr vert="horz" anchor="ctr"/>
          <a:lstStyle>
            <a:lvl1pPr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/>
              <a:t>Quote, Georgia, Italic, 30 pt</a:t>
            </a:r>
            <a:br>
              <a:rPr lang="en-GB" noProof="0"/>
            </a:br>
            <a:r>
              <a:rPr lang="en-GB" noProof="0"/>
              <a:t>No more than 5 lines of tex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1A2CCA-096A-39D7-4AD8-5CC50BA94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8312" y="1843109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5" y="5002125"/>
            <a:ext cx="2791902" cy="9192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First Name Surname</a:t>
            </a:r>
          </a:p>
          <a:p>
            <a:pPr lvl="1"/>
            <a:r>
              <a:rPr lang="en-GB" noProof="0"/>
              <a:t>Position</a:t>
            </a:r>
          </a:p>
          <a:p>
            <a:pPr lvl="2"/>
            <a:endParaRPr lang="en-GB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A3CF87-3947-EFDA-190F-8AB141A93A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CCA94DF-E684-E188-F94A-E0C0DA30B0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050881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Quote+I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C3DABE-D4E5-D351-963E-34FD93396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36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7200" y="4012442"/>
            <a:ext cx="10317600" cy="832513"/>
          </a:xfrm>
        </p:spPr>
        <p:txBody>
          <a:bodyPr vert="horz" anchor="b"/>
          <a:lstStyle>
            <a:lvl1pPr algn="ctr"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/>
              <a:t>Short Quote, Georgia, Italic, 30 p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81736" y="1065186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1736" y="5513697"/>
            <a:ext cx="2828529" cy="59678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First Name Surname</a:t>
            </a:r>
          </a:p>
          <a:p>
            <a:pPr lvl="1"/>
            <a:r>
              <a:rPr lang="en-GB" noProof="0"/>
              <a:t>Position</a:t>
            </a:r>
          </a:p>
          <a:p>
            <a:pPr lvl="2"/>
            <a:endParaRPr lang="en-GB" noProof="0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C43B717-B5B8-6114-C8A3-4E3DC6E2F403}"/>
              </a:ext>
            </a:extLst>
          </p:cNvPr>
          <p:cNvCxnSpPr/>
          <p:nvPr userDrawn="1"/>
        </p:nvCxnSpPr>
        <p:spPr>
          <a:xfrm>
            <a:off x="5376000" y="5179326"/>
            <a:ext cx="144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DA2F4-6869-963F-1C8F-DC9A296EE5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B30C680-3912-1F6E-816D-86AC53BA11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3D0C74-1E7D-4072-60C5-FEBE9966FB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452624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A3CC9D-C8AC-9800-39AE-668220846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530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200" y="1577976"/>
            <a:ext cx="10317600" cy="892270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hank you!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200" y="3477296"/>
            <a:ext cx="10317600" cy="1789740"/>
          </a:xfrm>
        </p:spPr>
        <p:txBody>
          <a:bodyPr/>
          <a:lstStyle>
            <a:lvl1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 noProof="0"/>
              <a:t>Author’s inform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7184D4A-ABC6-73B7-3255-011F9072AA02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0BF81FC-50A5-9498-E3B5-98F1855060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1A300EC-4A9D-C98D-8FEF-C478280728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76C3E71-DCCA-68E2-945C-18E3FCCFFC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77284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nect with E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01704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94812D6F-7F2D-9792-3A4B-B9117829B507}"/>
              </a:ext>
            </a:extLst>
          </p:cNvPr>
          <p:cNvSpPr txBox="1"/>
          <p:nvPr userDrawn="1"/>
        </p:nvSpPr>
        <p:spPr>
          <a:xfrm>
            <a:off x="1885666" y="2202954"/>
            <a:ext cx="84206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noProof="0">
                <a:solidFill>
                  <a:schemeClr val="tx2"/>
                </a:solidFill>
              </a:rPr>
              <a:t>Connect with ESO</a:t>
            </a:r>
          </a:p>
        </p:txBody>
      </p:sp>
      <p:grpSp>
        <p:nvGrpSpPr>
          <p:cNvPr id="7" name="Icons social media">
            <a:extLst>
              <a:ext uri="{FF2B5EF4-FFF2-40B4-BE49-F238E27FC236}">
                <a16:creationId xmlns:a16="http://schemas.microsoft.com/office/drawing/2014/main" id="{3A749136-AA50-8556-2B2B-1212D11DF3FA}"/>
              </a:ext>
            </a:extLst>
          </p:cNvPr>
          <p:cNvGrpSpPr/>
          <p:nvPr userDrawn="1"/>
        </p:nvGrpSpPr>
        <p:grpSpPr>
          <a:xfrm>
            <a:off x="4692001" y="4037525"/>
            <a:ext cx="2808666" cy="536494"/>
            <a:chOff x="2527782" y="2733756"/>
            <a:chExt cx="2808666" cy="536494"/>
          </a:xfrm>
        </p:grpSpPr>
        <p:pic>
          <p:nvPicPr>
            <p:cNvPr id="10" name="Icon linkedin">
              <a:extLst>
                <a:ext uri="{FF2B5EF4-FFF2-40B4-BE49-F238E27FC236}">
                  <a16:creationId xmlns:a16="http://schemas.microsoft.com/office/drawing/2014/main" id="{1EF6A419-27B0-5B79-B0A3-B0BDAF71C649}"/>
                </a:ext>
              </a:extLst>
            </p:cNvPr>
            <p:cNvPicPr/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804788" y="2733756"/>
              <a:ext cx="531660" cy="536494"/>
            </a:xfrm>
            <a:prstGeom prst="rect">
              <a:avLst/>
            </a:prstGeom>
          </p:spPr>
        </p:pic>
        <p:pic>
          <p:nvPicPr>
            <p:cNvPr id="12" name="Icon youtube">
              <a:extLst>
                <a:ext uri="{FF2B5EF4-FFF2-40B4-BE49-F238E27FC236}">
                  <a16:creationId xmlns:a16="http://schemas.microsoft.com/office/drawing/2014/main" id="{5EBDB13F-BAC1-1D0C-D007-E0504A0538BD}"/>
                </a:ext>
              </a:extLst>
            </p:cNvPr>
            <p:cNvPicPr/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235013" y="2733756"/>
              <a:ext cx="531703" cy="536494"/>
            </a:xfrm>
            <a:prstGeom prst="rect">
              <a:avLst/>
            </a:prstGeom>
          </p:spPr>
        </p:pic>
        <p:pic>
          <p:nvPicPr>
            <p:cNvPr id="13" name="Icon twitter">
              <a:extLst>
                <a:ext uri="{FF2B5EF4-FFF2-40B4-BE49-F238E27FC236}">
                  <a16:creationId xmlns:a16="http://schemas.microsoft.com/office/drawing/2014/main" id="{3CCB1F1C-A2A9-87F6-4185-EAB2D0EAE0D0}"/>
                </a:ext>
              </a:extLst>
            </p:cNvPr>
            <p:cNvPicPr/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67655" y="2733756"/>
              <a:ext cx="531703" cy="536494"/>
            </a:xfrm>
            <a:prstGeom prst="rect">
              <a:avLst/>
            </a:prstGeom>
          </p:spPr>
        </p:pic>
        <p:pic>
          <p:nvPicPr>
            <p:cNvPr id="14" name="Icon instagram">
              <a:extLst>
                <a:ext uri="{FF2B5EF4-FFF2-40B4-BE49-F238E27FC236}">
                  <a16:creationId xmlns:a16="http://schemas.microsoft.com/office/drawing/2014/main" id="{D10581A4-8FC9-7176-FC26-604E4386BEA2}"/>
                </a:ext>
              </a:extLst>
            </p:cNvPr>
            <p:cNvPicPr/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092885" y="2733756"/>
              <a:ext cx="536494" cy="536494"/>
            </a:xfrm>
            <a:prstGeom prst="rect">
              <a:avLst/>
            </a:prstGeom>
          </p:spPr>
        </p:pic>
        <p:pic>
          <p:nvPicPr>
            <p:cNvPr id="15" name="Icon facebook">
              <a:extLst>
                <a:ext uri="{FF2B5EF4-FFF2-40B4-BE49-F238E27FC236}">
                  <a16:creationId xmlns:a16="http://schemas.microsoft.com/office/drawing/2014/main" id="{905A3959-BC47-7F0A-C7C1-18CBF2C04094}"/>
                </a:ext>
              </a:extLst>
            </p:cNvPr>
            <p:cNvPicPr/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527782" y="2733756"/>
              <a:ext cx="531703" cy="536494"/>
            </a:xfrm>
            <a:prstGeom prst="rect">
              <a:avLst/>
            </a:prstGeom>
          </p:spPr>
        </p:pic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045A2E-5D04-4A34-24D6-B0E5A23C3D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AF8119-9B4B-D4F5-3356-ED609084619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14F6C-2878-DED4-BDC5-2E2252CECE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585FB5D-D18A-4FA5-1CC6-F0E82D6F7B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948807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 + info + 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5298FC2-5C65-CDAC-06E8-6185752CB3A8}"/>
              </a:ext>
            </a:extLst>
          </p:cNvPr>
          <p:cNvSpPr txBox="1"/>
          <p:nvPr userDrawn="1"/>
        </p:nvSpPr>
        <p:spPr>
          <a:xfrm>
            <a:off x="899999" y="1762360"/>
            <a:ext cx="10392001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GB" sz="4000" b="1" noProof="0">
                <a:solidFill>
                  <a:schemeClr val="tx2"/>
                </a:solidFill>
              </a:rPr>
              <a:t>Thank you!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Flags">
            <a:extLst>
              <a:ext uri="{FF2B5EF4-FFF2-40B4-BE49-F238E27FC236}">
                <a16:creationId xmlns:a16="http://schemas.microsoft.com/office/drawing/2014/main" id="{A764F50D-C111-1A06-50CF-DC02335D7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C60E6F2-1258-CF2E-7F23-6017DCE209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pic>
        <p:nvPicPr>
          <p:cNvPr id="10" name="Pic youtube">
            <a:extLst>
              <a:ext uri="{FF2B5EF4-FFF2-40B4-BE49-F238E27FC236}">
                <a16:creationId xmlns:a16="http://schemas.microsoft.com/office/drawing/2014/main" id="{F5778EB2-EC7E-C944-1A4F-764D740EB173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6329206" y="4912463"/>
            <a:ext cx="263821" cy="266198"/>
          </a:xfrm>
          <a:prstGeom prst="rect">
            <a:avLst/>
          </a:prstGeom>
        </p:spPr>
      </p:pic>
      <p:pic>
        <p:nvPicPr>
          <p:cNvPr id="12" name="Pic linkedin">
            <a:extLst>
              <a:ext uri="{FF2B5EF4-FFF2-40B4-BE49-F238E27FC236}">
                <a16:creationId xmlns:a16="http://schemas.microsoft.com/office/drawing/2014/main" id="{28B71ABF-94C6-D96A-F811-AB42C2ED77F1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329214" y="4558461"/>
            <a:ext cx="263806" cy="266205"/>
          </a:xfrm>
          <a:prstGeom prst="rect">
            <a:avLst/>
          </a:prstGeom>
        </p:spPr>
      </p:pic>
      <p:pic>
        <p:nvPicPr>
          <p:cNvPr id="13" name="Pic twitter">
            <a:extLst>
              <a:ext uri="{FF2B5EF4-FFF2-40B4-BE49-F238E27FC236}">
                <a16:creationId xmlns:a16="http://schemas.microsoft.com/office/drawing/2014/main" id="{193A1D86-2C61-8597-CC7B-FBC3C56BEEED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329202" y="4204458"/>
            <a:ext cx="263828" cy="266205"/>
          </a:xfrm>
          <a:prstGeom prst="rect">
            <a:avLst/>
          </a:prstGeom>
        </p:spPr>
      </p:pic>
      <p:pic>
        <p:nvPicPr>
          <p:cNvPr id="14" name="Pic instagram">
            <a:extLst>
              <a:ext uri="{FF2B5EF4-FFF2-40B4-BE49-F238E27FC236}">
                <a16:creationId xmlns:a16="http://schemas.microsoft.com/office/drawing/2014/main" id="{FF2FF84F-FCA8-2DD2-2641-3120179EB4D0}"/>
              </a:ext>
            </a:extLst>
          </p:cNvPr>
          <p:cNvPicPr/>
          <p:nvPr userDrawn="1"/>
        </p:nvPicPr>
        <p:blipFill>
          <a:blip r:embed="rId8"/>
          <a:stretch>
            <a:fillRect/>
          </a:stretch>
        </p:blipFill>
        <p:spPr>
          <a:xfrm>
            <a:off x="6328013" y="3850455"/>
            <a:ext cx="266205" cy="266205"/>
          </a:xfrm>
          <a:prstGeom prst="rect">
            <a:avLst/>
          </a:prstGeom>
        </p:spPr>
      </p:pic>
      <p:pic>
        <p:nvPicPr>
          <p:cNvPr id="15" name="Pic facebook">
            <a:extLst>
              <a:ext uri="{FF2B5EF4-FFF2-40B4-BE49-F238E27FC236}">
                <a16:creationId xmlns:a16="http://schemas.microsoft.com/office/drawing/2014/main" id="{5588B66B-7848-FD4D-45A9-05C46263FD12}"/>
              </a:ext>
            </a:extLst>
          </p:cNvPr>
          <p:cNvPicPr/>
          <p:nvPr userDrawn="1"/>
        </p:nvPicPr>
        <p:blipFill>
          <a:blip r:embed="rId9"/>
          <a:stretch>
            <a:fillRect/>
          </a:stretch>
        </p:blipFill>
        <p:spPr>
          <a:xfrm>
            <a:off x="6329202" y="3496452"/>
            <a:ext cx="263828" cy="266205"/>
          </a:xfrm>
          <a:prstGeom prst="rect">
            <a:avLst/>
          </a:prstGeom>
        </p:spPr>
      </p:pic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A19D0BF-9500-27CE-3021-6A10627B7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0451" y="3496452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@ESOAstronomy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822DA17-D0C5-C3B6-7E38-E052863F88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0451" y="3850454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@esoastronomy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123B96AF-E31A-3099-DF17-5D8E6ACBE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0451" y="4204456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@ESO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D7C44FA6-0C68-7C62-FB9A-E592FB06B6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70451" y="4558458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european-southern-observatory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F0007E12-939A-F866-DC2D-DE999A871D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0451" y="4912459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@ESOobservatory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CDC22D2D-5C3B-1EB3-466A-9E78C49AB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3496452"/>
            <a:ext cx="4938751" cy="1682212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uthor’s info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DC98BF75-F3C1-8545-3D4F-7CF9E36BD6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37CBA4C-CCCE-B186-52E5-86E376A9A6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86056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F73511-5300-CCC6-5C11-A8FDAEBF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76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here could be a </a:t>
            </a:r>
            <a:br>
              <a:rPr lang="en-GB" noProof="0"/>
            </a:br>
            <a:r>
              <a:rPr lang="en-GB" noProof="0"/>
              <a:t>section title as well.</a:t>
            </a:r>
            <a:br>
              <a:rPr lang="en-GB" noProof="0"/>
            </a:br>
            <a:r>
              <a:rPr lang="en-GB" noProof="0"/>
              <a:t>Arial Bold, 40 pt, blu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3957A0-AB22-3832-DD70-E9DDB209C5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12FD221-FA68-B3C7-491F-ABD2A6E7CA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90C8B3E-68C1-8AD6-54D7-83E035377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338448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FFE826BA-FE44-4CAC-3769-A1528EBBAE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532B96C-11D4-51F2-7389-CC91F7213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7CCBDA-8DE5-BD26-FA60-68E845BB5B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</p:spTree>
    <p:extLst>
      <p:ext uri="{BB962C8B-B14F-4D97-AF65-F5344CB8AC3E}">
        <p14:creationId xmlns:p14="http://schemas.microsoft.com/office/powerpoint/2010/main" val="9156147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 white footer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FFE826BA-FE44-4CAC-3769-A1528EBBAE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532B96C-11D4-51F2-7389-CC91F7213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7CCBDA-8DE5-BD26-FA60-68E845BB5B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</p:spTree>
    <p:extLst>
      <p:ext uri="{BB962C8B-B14F-4D97-AF65-F5344CB8AC3E}">
        <p14:creationId xmlns:p14="http://schemas.microsoft.com/office/powerpoint/2010/main" val="38560690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c white no footer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FFE826BA-FE44-4CAC-3769-A1528EBBAE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532B96C-11D4-51F2-7389-CC91F7213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675719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F8E82346-05BA-CCC7-D114-7954D9FACF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546BCF1-8D96-930A-2C11-EE605C324D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2226CED-8473-1D20-07B5-FCF82FA317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C1E0B16-DFA8-CD1E-CEDF-8F7DC7BF7E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</p:spTree>
    <p:extLst>
      <p:ext uri="{BB962C8B-B14F-4D97-AF65-F5344CB8AC3E}">
        <p14:creationId xmlns:p14="http://schemas.microsoft.com/office/powerpoint/2010/main" val="1717879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D0155401-1AEB-1D20-0D21-BFCA0D159CD7}"/>
              </a:ext>
            </a:extLst>
          </p:cNvPr>
          <p:cNvSpPr>
            <a:spLocks noGrp="1"/>
          </p:cNvSpPr>
          <p:nvPr>
            <p:ph type="dgm" sz="quarter" idx="11" hasCustomPrompt="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noProof="0"/>
              <a:t>Klicken Sie auf das Symbol, um die SmartArt-Grafik hinzuzufügen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045DAB8C-E0ED-1C88-CB5C-F288AB972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A8EA0D5-776F-7013-40A7-8CCE000F7D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66237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Text on full background image</a:t>
            </a:r>
          </a:p>
          <a:p>
            <a:pPr lvl="0"/>
            <a:r>
              <a:rPr lang="en-GB" noProof="0"/>
              <a:t>Arial, 24 pt, white, centre aligned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433C8CD0-D1FB-D1D7-F1A0-5048999E0FED}"/>
              </a:ext>
            </a:extLst>
          </p:cNvPr>
          <p:cNvSpPr>
            <a:spLocks noGrp="1"/>
          </p:cNvSpPr>
          <p:nvPr>
            <p:ph type="dgm" sz="quarter" idx="11" hasCustomPrompt="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noProof="0"/>
              <a:t>Klicken Sie auf das Symbol, um die SmartArt-Grafik hinzuzufügen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0136FD8-ABDD-2439-1D65-47721246EA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5BD34C2-96D9-5E00-A3B6-C9CB67CE2A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0932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B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0D47E81-E9A6-BB7A-A5AC-082A992B80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/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Text on blue background</a:t>
            </a:r>
          </a:p>
          <a:p>
            <a:pPr lvl="0"/>
            <a:r>
              <a:rPr lang="en-GB" noProof="0"/>
              <a:t>Arial, 24 pt, white, centre aligned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884E-30FD-BE94-EB74-D5EBDFB37F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GB" i="1" noProof="0"/>
              <a:t>Here the section title Author and Occasion in Italic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C1DCEA-8A03-ED66-EC67-A829554C2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4" name="Gerader Verbinder 5">
            <a:extLst>
              <a:ext uri="{FF2B5EF4-FFF2-40B4-BE49-F238E27FC236}">
                <a16:creationId xmlns:a16="http://schemas.microsoft.com/office/drawing/2014/main" id="{A83983A7-122C-0FD8-D3FF-9BD31D5ED1B1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4F93E76-EC44-10F6-2344-BFBAC5ED57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87BBC46-A359-3B35-8323-32EF5CB1F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7847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+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effectLst/>
              </a:defRPr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>
                <a:solidFill>
                  <a:schemeClr val="tx1"/>
                </a:solidFill>
                <a:effectLst/>
                <a:latin typeface="+mn-lt"/>
              </a:defRPr>
            </a:lvl9pPr>
          </a:lstStyle>
          <a:p>
            <a:pPr lvl="0"/>
            <a:r>
              <a:rPr lang="en-GB" noProof="0"/>
              <a:t>1-Column Text + white background</a:t>
            </a:r>
          </a:p>
          <a:p>
            <a:pPr lvl="0"/>
            <a:r>
              <a:rPr lang="en-GB" noProof="0"/>
              <a:t>Arial Bold, 24 pt, white, centre aligned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A77A81-4D96-818A-C166-E1A70E33BA3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74F0D8A-D6A5-0034-ED29-37667FCF6F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BFFA20-2233-28D0-64CD-025A8741D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92234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2016000"/>
            <a:ext cx="10317164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6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812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/>
              <a:t>Headline add-on, Arial Italic, 18 pt, orang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A9C3186-5BB4-9A21-3186-3402B5A06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51C8107-BFAD-581F-2D4B-FF75BE6140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05157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6331505-9ECA-3956-1067-E87CC20DB7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91889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410" imgH="409" progId="TCLayout.ActiveDocument.1">
                  <p:embed/>
                </p:oleObj>
              </mc:Choice>
              <mc:Fallback>
                <p:oleObj name="think-cell Folie" r:id="rId35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430F5F-5EE6-7217-0204-9D76CC0E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 noProof="0"/>
              <a:t>Headline Arial bold, 30 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1FBA3B-4EF4-7A72-C915-876AFB7AA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6625" y="2014538"/>
            <a:ext cx="10317164" cy="3906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opy Arial, 18 </a:t>
            </a:r>
            <a:r>
              <a:rPr lang="en-GB" noProof="0" dirty="0" err="1"/>
              <a:t>pt</a:t>
            </a:r>
            <a:endParaRPr lang="en-GB" noProof="0" dirty="0"/>
          </a:p>
          <a:p>
            <a:pPr lvl="1"/>
            <a:r>
              <a:rPr lang="en-GB" noProof="0" dirty="0"/>
              <a:t>First Bullet, 18 </a:t>
            </a:r>
            <a:r>
              <a:rPr lang="en-GB" noProof="0" dirty="0" err="1"/>
              <a:t>pt</a:t>
            </a:r>
            <a:endParaRPr lang="en-GB" noProof="0" dirty="0"/>
          </a:p>
          <a:p>
            <a:pPr lvl="2"/>
            <a:r>
              <a:rPr lang="en-GB" noProof="0" dirty="0"/>
              <a:t>Second Bullet, 18 </a:t>
            </a:r>
            <a:r>
              <a:rPr lang="en-GB" noProof="0" dirty="0" err="1"/>
              <a:t>pt</a:t>
            </a:r>
            <a:endParaRPr lang="en-GB" noProof="0" dirty="0"/>
          </a:p>
          <a:p>
            <a:pPr lvl="3"/>
            <a:r>
              <a:rPr lang="en-GB" noProof="0" dirty="0"/>
              <a:t>Subheading Arial bold, 18 </a:t>
            </a:r>
            <a:r>
              <a:rPr lang="en-GB" noProof="0" dirty="0" err="1"/>
              <a:t>pt</a:t>
            </a:r>
            <a:endParaRPr lang="en-GB" noProof="0" dirty="0"/>
          </a:p>
          <a:p>
            <a:pPr lvl="4"/>
            <a:r>
              <a:rPr lang="en-GB" noProof="0" dirty="0"/>
              <a:t>Subheading Arial bold, 24 </a:t>
            </a:r>
            <a:r>
              <a:rPr lang="en-GB" noProof="0" dirty="0" err="1"/>
              <a:t>pt</a:t>
            </a:r>
            <a:endParaRPr lang="en-GB" noProof="0" dirty="0"/>
          </a:p>
          <a:p>
            <a:pPr lvl="5"/>
            <a:r>
              <a:rPr lang="en-GB" noProof="0" dirty="0"/>
              <a:t>Quotes and emotional content, 26 </a:t>
            </a:r>
            <a:r>
              <a:rPr lang="en-GB" noProof="0" dirty="0" err="1"/>
              <a:t>pt</a:t>
            </a:r>
            <a:r>
              <a:rPr lang="en-GB" noProof="0" dirty="0"/>
              <a:t>, orange</a:t>
            </a:r>
          </a:p>
          <a:p>
            <a:pPr lvl="6"/>
            <a:r>
              <a:rPr lang="en-GB" noProof="0" dirty="0"/>
              <a:t>Copy Arial, 18 </a:t>
            </a:r>
            <a:r>
              <a:rPr lang="en-GB" noProof="0" dirty="0" err="1"/>
              <a:t>pt</a:t>
            </a:r>
            <a:endParaRPr lang="en-GB" noProof="0" dirty="0"/>
          </a:p>
          <a:p>
            <a:pPr lvl="7"/>
            <a:r>
              <a:rPr lang="en-GB" noProof="0" dirty="0"/>
              <a:t>Copy Arial, 18 </a:t>
            </a:r>
            <a:r>
              <a:rPr lang="en-GB" noProof="0" dirty="0" err="1"/>
              <a:t>pt</a:t>
            </a:r>
            <a:endParaRPr lang="en-GB" noProof="0" dirty="0"/>
          </a:p>
          <a:p>
            <a:pPr lvl="8"/>
            <a:r>
              <a:rPr lang="en-GB" noProof="0" dirty="0"/>
              <a:t>Copy Arial, 18 </a:t>
            </a:r>
            <a:r>
              <a:rPr lang="en-GB" noProof="0" dirty="0" err="1"/>
              <a:t>pt</a:t>
            </a:r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44BAAE-B800-7FD6-3DA7-97327451D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625" y="6532505"/>
            <a:ext cx="5147376" cy="175312"/>
          </a:xfrm>
          <a:prstGeom prst="rect">
            <a:avLst/>
          </a:prstGeom>
        </p:spPr>
        <p:txBody>
          <a:bodyPr vert="horz" lIns="0" tIns="0" rIns="0" bIns="18000" rtlCol="0" anchor="b">
            <a:noAutofit/>
          </a:bodyPr>
          <a:lstStyle>
            <a:lvl1pPr algn="l">
              <a:defRPr sz="900" i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Here the section title </a:t>
            </a:r>
            <a:r>
              <a:rPr lang="en-GB" i="1" noProof="0"/>
              <a:t>Author and Occasion in Italics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DEE3F7-A4A5-97B4-1A51-BC68FBBF3DCB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F986432C-5575-7D1B-27F5-31B6D699A418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9AAAA37-2BFA-6A4B-B2BB-0D772880F5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025BBF36-A3C9-591A-9A33-A6AA515BB8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ESO PUBLIC</a:t>
            </a:r>
          </a:p>
        </p:txBody>
      </p:sp>
    </p:spTree>
    <p:extLst>
      <p:ext uri="{BB962C8B-B14F-4D97-AF65-F5344CB8AC3E}">
        <p14:creationId xmlns:p14="http://schemas.microsoft.com/office/powerpoint/2010/main" val="128900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0" r:id="rId7"/>
    <p:sldLayoutId id="2147483661" r:id="rId8"/>
    <p:sldLayoutId id="2147483653" r:id="rId9"/>
    <p:sldLayoutId id="214748365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81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  <p:sldLayoutId id="2147483680" r:id="rId29"/>
    <p:sldLayoutId id="2147483682" r:id="rId30"/>
    <p:sldLayoutId id="2147483683" r:id="rId31"/>
    <p:sldLayoutId id="2147483684" r:id="rId3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14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8000"/>
        </a:lnSpc>
        <a:spcBef>
          <a:spcPts val="1200"/>
        </a:spcBef>
        <a:buClr>
          <a:schemeClr val="tx2"/>
        </a:buClr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1200"/>
        </a:spcBef>
        <a:buClr>
          <a:schemeClr val="bg2"/>
        </a:buClr>
        <a:buFont typeface="Arial" panose="020B0604020202020204" pitchFamily="34" charset="0"/>
        <a:buNone/>
        <a:defRPr sz="2600" i="1" kern="1200">
          <a:solidFill>
            <a:schemeClr val="bg2"/>
          </a:solidFill>
          <a:latin typeface="Georgia" panose="02040502050405020303" pitchFamily="18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pos="590" userDrawn="1">
          <p15:clr>
            <a:srgbClr val="F26B43"/>
          </p15:clr>
        </p15:guide>
        <p15:guide id="5" pos="886" userDrawn="1">
          <p15:clr>
            <a:srgbClr val="F26B43"/>
          </p15:clr>
        </p15:guide>
        <p15:guide id="6" pos="1181" userDrawn="1">
          <p15:clr>
            <a:srgbClr val="F26B43"/>
          </p15:clr>
        </p15:guide>
        <p15:guide id="7" pos="1476" userDrawn="1">
          <p15:clr>
            <a:srgbClr val="F26B43"/>
          </p15:clr>
        </p15:guide>
        <p15:guide id="8" pos="1772" userDrawn="1">
          <p15:clr>
            <a:srgbClr val="F26B43"/>
          </p15:clr>
        </p15:guide>
        <p15:guide id="9" pos="2067" userDrawn="1">
          <p15:clr>
            <a:srgbClr val="F26B43"/>
          </p15:clr>
        </p15:guide>
        <p15:guide id="10" pos="2363" userDrawn="1">
          <p15:clr>
            <a:srgbClr val="F26B43"/>
          </p15:clr>
        </p15:guide>
        <p15:guide id="11" pos="2658" userDrawn="1">
          <p15:clr>
            <a:srgbClr val="F26B43"/>
          </p15:clr>
        </p15:guide>
        <p15:guide id="12" pos="2953" userDrawn="1">
          <p15:clr>
            <a:srgbClr val="F26B43"/>
          </p15:clr>
        </p15:guide>
        <p15:guide id="13" pos="3249" userDrawn="1">
          <p15:clr>
            <a:srgbClr val="F26B43"/>
          </p15:clr>
        </p15:guide>
        <p15:guide id="14" pos="3544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4135" userDrawn="1">
          <p15:clr>
            <a:srgbClr val="F26B43"/>
          </p15:clr>
        </p15:guide>
        <p15:guide id="17" pos="4430" userDrawn="1">
          <p15:clr>
            <a:srgbClr val="F26B43"/>
          </p15:clr>
        </p15:guide>
        <p15:guide id="18" pos="4726" userDrawn="1">
          <p15:clr>
            <a:srgbClr val="F26B43"/>
          </p15:clr>
        </p15:guide>
        <p15:guide id="19" pos="5021" userDrawn="1">
          <p15:clr>
            <a:srgbClr val="F26B43"/>
          </p15:clr>
        </p15:guide>
        <p15:guide id="20" pos="5316" userDrawn="1">
          <p15:clr>
            <a:srgbClr val="F26B43"/>
          </p15:clr>
        </p15:guide>
        <p15:guide id="21" pos="5612" userDrawn="1">
          <p15:clr>
            <a:srgbClr val="F26B43"/>
          </p15:clr>
        </p15:guide>
        <p15:guide id="22" pos="5907" userDrawn="1">
          <p15:clr>
            <a:srgbClr val="F26B43"/>
          </p15:clr>
        </p15:guide>
        <p15:guide id="23" pos="6203" userDrawn="1">
          <p15:clr>
            <a:srgbClr val="F26B43"/>
          </p15:clr>
        </p15:guide>
        <p15:guide id="24" pos="6498" userDrawn="1">
          <p15:clr>
            <a:srgbClr val="F26B43"/>
          </p15:clr>
        </p15:guide>
        <p15:guide id="25" pos="6793" userDrawn="1">
          <p15:clr>
            <a:srgbClr val="F26B43"/>
          </p15:clr>
        </p15:guide>
        <p15:guide id="26" pos="7089" userDrawn="1">
          <p15:clr>
            <a:srgbClr val="F26B43"/>
          </p15:clr>
        </p15:guide>
        <p15:guide id="27" pos="7384" userDrawn="1">
          <p15:clr>
            <a:srgbClr val="F26B43"/>
          </p15:clr>
        </p15:guide>
        <p15:guide id="28" orient="horz" userDrawn="1">
          <p15:clr>
            <a:srgbClr val="F26B43"/>
          </p15:clr>
        </p15:guide>
        <p15:guide id="29" orient="horz" pos="4320" userDrawn="1">
          <p15:clr>
            <a:srgbClr val="F26B43"/>
          </p15:clr>
        </p15:guide>
        <p15:guide id="30" orient="horz" pos="249" userDrawn="1">
          <p15:clr>
            <a:srgbClr val="F26B43"/>
          </p15:clr>
        </p15:guide>
        <p15:guide id="31" orient="horz" pos="40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2.xml"/><Relationship Id="rId6" Type="http://schemas.openxmlformats.org/officeDocument/2006/relationships/hyperlink" Target="http://twanight.org/" TargetMode="Externa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svg"/><Relationship Id="rId3" Type="http://schemas.openxmlformats.org/officeDocument/2006/relationships/image" Target="../media/image3.svg"/><Relationship Id="rId7" Type="http://schemas.openxmlformats.org/officeDocument/2006/relationships/image" Target="../media/image34.svg"/><Relationship Id="rId12" Type="http://schemas.openxmlformats.org/officeDocument/2006/relationships/image" Target="../media/image3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3.png"/><Relationship Id="rId11" Type="http://schemas.openxmlformats.org/officeDocument/2006/relationships/image" Target="../media/image38.svg"/><Relationship Id="rId5" Type="http://schemas.openxmlformats.org/officeDocument/2006/relationships/image" Target="../media/image32.sv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13" Type="http://schemas.openxmlformats.org/officeDocument/2006/relationships/image" Target="../media/image50.png"/><Relationship Id="rId3" Type="http://schemas.openxmlformats.org/officeDocument/2006/relationships/image" Target="../media/image2.png"/><Relationship Id="rId7" Type="http://schemas.openxmlformats.org/officeDocument/2006/relationships/image" Target="../media/image44.png"/><Relationship Id="rId12" Type="http://schemas.openxmlformats.org/officeDocument/2006/relationships/image" Target="../media/image49.svg"/><Relationship Id="rId2" Type="http://schemas.openxmlformats.org/officeDocument/2006/relationships/image" Target="../media/image41.png"/><Relationship Id="rId16" Type="http://schemas.openxmlformats.org/officeDocument/2006/relationships/image" Target="../media/image53.sv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3.sv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10" Type="http://schemas.openxmlformats.org/officeDocument/2006/relationships/image" Target="../media/image47.svg"/><Relationship Id="rId4" Type="http://schemas.openxmlformats.org/officeDocument/2006/relationships/image" Target="../media/image3.svg"/><Relationship Id="rId9" Type="http://schemas.openxmlformats.org/officeDocument/2006/relationships/image" Target="../media/image46.png"/><Relationship Id="rId14" Type="http://schemas.openxmlformats.org/officeDocument/2006/relationships/image" Target="../media/image51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3.sv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.png"/><Relationship Id="rId5" Type="http://schemas.openxmlformats.org/officeDocument/2006/relationships/image" Target="../media/image61.jpeg"/><Relationship Id="rId4" Type="http://schemas.openxmlformats.org/officeDocument/2006/relationships/image" Target="../media/image60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13" Type="http://schemas.openxmlformats.org/officeDocument/2006/relationships/image" Target="../media/image71.png"/><Relationship Id="rId18" Type="http://schemas.openxmlformats.org/officeDocument/2006/relationships/image" Target="../media/image76.svg"/><Relationship Id="rId3" Type="http://schemas.openxmlformats.org/officeDocument/2006/relationships/image" Target="../media/image2.png"/><Relationship Id="rId7" Type="http://schemas.openxmlformats.org/officeDocument/2006/relationships/image" Target="../media/image65.png"/><Relationship Id="rId12" Type="http://schemas.openxmlformats.org/officeDocument/2006/relationships/image" Target="../media/image70.svg"/><Relationship Id="rId17" Type="http://schemas.openxmlformats.org/officeDocument/2006/relationships/image" Target="../media/image75.png"/><Relationship Id="rId2" Type="http://schemas.openxmlformats.org/officeDocument/2006/relationships/image" Target="../media/image62.png"/><Relationship Id="rId16" Type="http://schemas.openxmlformats.org/officeDocument/2006/relationships/image" Target="../media/image74.sv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64.sv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5" Type="http://schemas.openxmlformats.org/officeDocument/2006/relationships/image" Target="../media/image73.png"/><Relationship Id="rId10" Type="http://schemas.openxmlformats.org/officeDocument/2006/relationships/image" Target="../media/image68.svg"/><Relationship Id="rId4" Type="http://schemas.openxmlformats.org/officeDocument/2006/relationships/image" Target="../media/image3.svg"/><Relationship Id="rId9" Type="http://schemas.openxmlformats.org/officeDocument/2006/relationships/image" Target="../media/image67.png"/><Relationship Id="rId14" Type="http://schemas.openxmlformats.org/officeDocument/2006/relationships/image" Target="../media/image7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13" Type="http://schemas.openxmlformats.org/officeDocument/2006/relationships/image" Target="../media/image75.png"/><Relationship Id="rId18" Type="http://schemas.openxmlformats.org/officeDocument/2006/relationships/image" Target="../media/image79.svg"/><Relationship Id="rId3" Type="http://schemas.openxmlformats.org/officeDocument/2006/relationships/image" Target="../media/image2.png"/><Relationship Id="rId21" Type="http://schemas.openxmlformats.org/officeDocument/2006/relationships/image" Target="../media/image80.png"/><Relationship Id="rId7" Type="http://schemas.openxmlformats.org/officeDocument/2006/relationships/image" Target="../media/image65.png"/><Relationship Id="rId12" Type="http://schemas.openxmlformats.org/officeDocument/2006/relationships/image" Target="../media/image74.svg"/><Relationship Id="rId17" Type="http://schemas.openxmlformats.org/officeDocument/2006/relationships/image" Target="../media/image78.png"/><Relationship Id="rId2" Type="http://schemas.openxmlformats.org/officeDocument/2006/relationships/image" Target="../media/image77.jpg"/><Relationship Id="rId16" Type="http://schemas.openxmlformats.org/officeDocument/2006/relationships/image" Target="../media/image68.svg"/><Relationship Id="rId20" Type="http://schemas.openxmlformats.org/officeDocument/2006/relationships/image" Target="../media/image70.sv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64.svg"/><Relationship Id="rId11" Type="http://schemas.openxmlformats.org/officeDocument/2006/relationships/image" Target="../media/image73.png"/><Relationship Id="rId5" Type="http://schemas.openxmlformats.org/officeDocument/2006/relationships/image" Target="../media/image63.png"/><Relationship Id="rId15" Type="http://schemas.openxmlformats.org/officeDocument/2006/relationships/image" Target="../media/image67.png"/><Relationship Id="rId10" Type="http://schemas.openxmlformats.org/officeDocument/2006/relationships/image" Target="../media/image72.svg"/><Relationship Id="rId19" Type="http://schemas.openxmlformats.org/officeDocument/2006/relationships/image" Target="../media/image69.png"/><Relationship Id="rId4" Type="http://schemas.openxmlformats.org/officeDocument/2006/relationships/image" Target="../media/image3.svg"/><Relationship Id="rId9" Type="http://schemas.openxmlformats.org/officeDocument/2006/relationships/image" Target="../media/image71.png"/><Relationship Id="rId14" Type="http://schemas.openxmlformats.org/officeDocument/2006/relationships/image" Target="../media/image76.svg"/><Relationship Id="rId22" Type="http://schemas.openxmlformats.org/officeDocument/2006/relationships/image" Target="../media/image81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6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5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>
            <a:extLst>
              <a:ext uri="{FF2B5EF4-FFF2-40B4-BE49-F238E27FC236}">
                <a16:creationId xmlns:a16="http://schemas.microsoft.com/office/drawing/2014/main" id="{091FD351-8934-A5C6-F81F-BAB471C4D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692" y="1047382"/>
            <a:ext cx="317758" cy="317758"/>
          </a:xfrm>
          <a:prstGeom prst="rect">
            <a:avLst/>
          </a:prstGeom>
        </p:spPr>
      </p:pic>
      <p:pic>
        <p:nvPicPr>
          <p:cNvPr id="3" name="Picture Placeholder 4">
            <a:extLst>
              <a:ext uri="{FF2B5EF4-FFF2-40B4-BE49-F238E27FC236}">
                <a16:creationId xmlns:a16="http://schemas.microsoft.com/office/drawing/2014/main" id="{3D829177-ED25-AD4B-3DE8-1902A59509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5" name="Titel 2">
            <a:extLst>
              <a:ext uri="{FF2B5EF4-FFF2-40B4-BE49-F238E27FC236}">
                <a16:creationId xmlns:a16="http://schemas.microsoft.com/office/drawing/2014/main" id="{C5EA132D-0D16-1D59-C934-C3F8BB2DC245}"/>
              </a:ext>
            </a:extLst>
          </p:cNvPr>
          <p:cNvSpPr txBox="1">
            <a:spLocks/>
          </p:cNvSpPr>
          <p:nvPr/>
        </p:nvSpPr>
        <p:spPr>
          <a:xfrm>
            <a:off x="838820" y="1446981"/>
            <a:ext cx="10883280" cy="757130"/>
          </a:xfrm>
          <a:prstGeom prst="rect">
            <a:avLst/>
          </a:prstGeom>
          <a:effectLst/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>
                <a:solidFill>
                  <a:schemeClr val="bg1"/>
                </a:solidFill>
              </a:rPr>
              <a:t>The European Southern Observatory</a:t>
            </a:r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4BAEF2CD-532B-B0AB-D226-21AB0181E4F9}"/>
              </a:ext>
            </a:extLst>
          </p:cNvPr>
          <p:cNvSpPr txBox="1">
            <a:spLocks/>
          </p:cNvSpPr>
          <p:nvPr/>
        </p:nvSpPr>
        <p:spPr>
          <a:xfrm>
            <a:off x="945696" y="3018643"/>
            <a:ext cx="5097976" cy="1240302"/>
          </a:xfrm>
          <a:prstGeom prst="rect">
            <a:avLst/>
          </a:prstGeom>
          <a:effectLst/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200"/>
              </a:lnSpc>
            </a:pPr>
            <a:r>
              <a:rPr lang="en-GB" sz="2400" b="0" i="1"/>
              <a:t>Add your name, </a:t>
            </a:r>
          </a:p>
          <a:p>
            <a:pPr>
              <a:lnSpc>
                <a:spcPts val="3200"/>
              </a:lnSpc>
            </a:pPr>
            <a:r>
              <a:rPr lang="en-GB" sz="2400" b="0" i="1"/>
              <a:t>date and occasion </a:t>
            </a:r>
          </a:p>
          <a:p>
            <a:pPr>
              <a:lnSpc>
                <a:spcPts val="3200"/>
              </a:lnSpc>
            </a:pPr>
            <a:r>
              <a:rPr lang="en-GB" sz="2400" b="0" i="1"/>
              <a:t>here or remov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9EEC91F-D71A-EDDF-6794-8A0736EE0F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C212BC-55F2-09A1-8533-B2DED9DE336B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B. Tafreshi (</a:t>
            </a:r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wanight.org</a:t>
            </a:r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6DB900-CEA6-A21D-2168-A98CC79543F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833EA0-A355-22B8-231F-29D62108DE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04645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9C2DFEE2-4F18-6EA3-7C77-9DE552B73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573E398-4965-F4C0-B9C2-CAFE83E8C985}"/>
              </a:ext>
            </a:extLst>
          </p:cNvPr>
          <p:cNvSpPr txBox="1">
            <a:spLocks/>
          </p:cNvSpPr>
          <p:nvPr/>
        </p:nvSpPr>
        <p:spPr>
          <a:xfrm>
            <a:off x="936624" y="5518650"/>
            <a:ext cx="10317600" cy="40421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400"/>
              </a:lnSpc>
              <a:spcBef>
                <a:spcPts val="0"/>
              </a:spcBef>
            </a:pPr>
            <a:r>
              <a:rPr lang="en-GB" sz="2600" i="1">
                <a:latin typeface="Georgia" panose="02040502050405020303" pitchFamily="18" charset="0"/>
              </a:rPr>
              <a:t>And what does it look like?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835D89B-90AB-8F6B-863D-A49172742A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FE48195-3265-DED5-6B23-005782BA422C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P. Horálek/E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2D9F6E-CC9C-A24D-7A60-F684FD89197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395215-F714-59BC-164D-E5E3EDEFF7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72008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5228E372-F223-D269-DE5B-505FDF2388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68DA6DB-6B72-AD9C-914E-F011CFD6B849}"/>
              </a:ext>
            </a:extLst>
          </p:cNvPr>
          <p:cNvSpPr txBox="1">
            <a:spLocks/>
          </p:cNvSpPr>
          <p:nvPr/>
        </p:nvSpPr>
        <p:spPr>
          <a:xfrm>
            <a:off x="936624" y="4722843"/>
            <a:ext cx="10317600" cy="11985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b="1"/>
              <a:t>2022</a:t>
            </a:r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b="1"/>
              <a:t>First image of Sagittarius A*</a:t>
            </a:r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/>
              <a:t>the black hole at the centre of the Milky Way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96399E5-7BC6-FFCF-9FC3-957786E53A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9C5EFAF-C591-B1BE-9D0F-71E73FF87DFD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HT Collabora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81974C-FC5A-2DDA-D062-3898310682E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89CF93-86A7-9442-DF90-7159AAD19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24065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22A6A22-DFC2-2DAD-FD72-7029188CDFCF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Astronomy</a:t>
            </a:r>
            <a:br>
              <a:rPr lang="en-GB"/>
            </a:br>
            <a:r>
              <a:rPr lang="en-GB" b="0" i="1">
                <a:latin typeface="Georgia" panose="02040502050405020303" pitchFamily="18" charset="0"/>
              </a:rPr>
              <a:t>Life, the Universe and everything</a:t>
            </a:r>
            <a:endParaRPr lang="en-GB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9D948C0-EF5D-FDD5-C90B-EE34735BD2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D84E89-A334-829A-E10E-2A278EF1C07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E59E0A-15DE-5A8B-6CCC-9F2D6B8131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225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8" descr="A person standing in front of a starry sky&#10;&#10;Description automatically generated with low confidence">
            <a:extLst>
              <a:ext uri="{FF2B5EF4-FFF2-40B4-BE49-F238E27FC236}">
                <a16:creationId xmlns:a16="http://schemas.microsoft.com/office/drawing/2014/main" id="{96AB6619-C3CC-8D81-E58C-FFDBCCAFFD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04C9E14-160A-68F3-3523-A8803BD031F3}"/>
              </a:ext>
            </a:extLst>
          </p:cNvPr>
          <p:cNvSpPr txBox="1">
            <a:spLocks/>
          </p:cNvSpPr>
          <p:nvPr/>
        </p:nvSpPr>
        <p:spPr>
          <a:xfrm>
            <a:off x="937200" y="5160142"/>
            <a:ext cx="10317600" cy="84215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Socrat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92163D8-9E19-15D8-4E2E-80A97E1B1960}"/>
              </a:ext>
            </a:extLst>
          </p:cNvPr>
          <p:cNvSpPr txBox="1">
            <a:spLocks/>
          </p:cNvSpPr>
          <p:nvPr/>
        </p:nvSpPr>
        <p:spPr>
          <a:xfrm>
            <a:off x="900000" y="1576800"/>
            <a:ext cx="10317600" cy="247647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9pPr>
          </a:lstStyle>
          <a:p>
            <a:r>
              <a:rPr lang="en-GB"/>
              <a:t>“Man must rise above Earth,</a:t>
            </a:r>
            <a:br>
              <a:rPr lang="en-GB"/>
            </a:br>
            <a:r>
              <a:rPr lang="en-GB"/>
              <a:t>to the top of the atmosphere and beyond, </a:t>
            </a:r>
            <a:br>
              <a:rPr lang="en-GB"/>
            </a:br>
            <a:r>
              <a:rPr lang="en-GB"/>
              <a:t>for only then will he fully understand</a:t>
            </a:r>
            <a:br>
              <a:rPr lang="en-GB"/>
            </a:br>
            <a:r>
              <a:rPr lang="en-GB"/>
              <a:t>the world in which he lives.”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2DF2BE4-373C-9D4C-073E-3A51F11B0D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0B3F6E1-DA4B-918B-BA75-47C96431749E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P. Horálek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4DDF74E-99B2-8AA0-7B84-3459489DDC0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83D7F0-4A16-DE32-98B6-BEF3F8F056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5767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 descr="A group of stars in space&#10;&#10;Description automatically generated with medium confidence">
            <a:extLst>
              <a:ext uri="{FF2B5EF4-FFF2-40B4-BE49-F238E27FC236}">
                <a16:creationId xmlns:a16="http://schemas.microsoft.com/office/drawing/2014/main" id="{40BBC0A4-E2CA-C88C-4BB8-D26FBF7BA0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F052C13-F4D3-A1AE-EE9E-CB351B4E1419}"/>
              </a:ext>
            </a:extLst>
          </p:cNvPr>
          <p:cNvSpPr txBox="1">
            <a:spLocks/>
          </p:cNvSpPr>
          <p:nvPr/>
        </p:nvSpPr>
        <p:spPr>
          <a:xfrm>
            <a:off x="936623" y="1472365"/>
            <a:ext cx="4983409" cy="360156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/>
              <a:t>Astronomy is one of the oldest sciences. Humans have always looked up to the sky and </a:t>
            </a:r>
            <a:r>
              <a:rPr lang="en-GB" b="1"/>
              <a:t>wondered what is out there and how we came to be</a:t>
            </a:r>
            <a:r>
              <a:rPr lang="en-GB"/>
              <a:t>.</a:t>
            </a:r>
          </a:p>
          <a:p>
            <a:pPr algn="l"/>
            <a:r>
              <a:rPr lang="en-GB"/>
              <a:t>It is about asking the </a:t>
            </a:r>
            <a:r>
              <a:rPr lang="en-GB" b="1"/>
              <a:t>big questions</a:t>
            </a:r>
            <a:r>
              <a:rPr lang="en-GB"/>
              <a:t> and ESO is all about helping scientists to </a:t>
            </a:r>
            <a:r>
              <a:rPr lang="en-GB" b="1"/>
              <a:t>find answers</a:t>
            </a:r>
            <a:r>
              <a:rPr lang="en-GB"/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AB1B2C-7A2B-D49F-A3DC-449BA8DDCEFA}"/>
              </a:ext>
            </a:extLst>
          </p:cNvPr>
          <p:cNvSpPr txBox="1">
            <a:spLocks/>
          </p:cNvSpPr>
          <p:nvPr/>
        </p:nvSpPr>
        <p:spPr>
          <a:xfrm>
            <a:off x="7502526" y="5502867"/>
            <a:ext cx="3411480" cy="40421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400"/>
              </a:lnSpc>
              <a:spcBef>
                <a:spcPts val="0"/>
              </a:spcBef>
            </a:pPr>
            <a:r>
              <a:rPr lang="en-GB" sz="2600" i="1">
                <a:latin typeface="Georgia" panose="02040502050405020303" pitchFamily="18" charset="0"/>
              </a:rPr>
              <a:t>How do we do that?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E6B7F832-9401-E344-426D-D687EA1944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7C47281-FFBD-66BF-BB6B-3B6CE86565D9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. Acknowledgement: Aniello Grado and Luca Limatola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E566C1F-7166-DC5C-2C88-125F2A9FEB7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053F08-46E5-C5ED-2BAC-B30AC5918A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0256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F8672E15-154A-6B78-071B-E5421626C7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90ABF0C-65A2-A1B2-21F5-D85FEE211097}"/>
              </a:ext>
            </a:extLst>
          </p:cNvPr>
          <p:cNvSpPr txBox="1">
            <a:spLocks/>
          </p:cNvSpPr>
          <p:nvPr/>
        </p:nvSpPr>
        <p:spPr>
          <a:xfrm>
            <a:off x="2813050" y="399599"/>
            <a:ext cx="7502525" cy="83272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/>
              <a:t>In the past, </a:t>
            </a:r>
            <a:br>
              <a:rPr lang="en-GB"/>
            </a:br>
            <a:r>
              <a:rPr lang="en-GB"/>
              <a:t>astronomers built their own equip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820177-FAD5-4291-F875-3A994AE5C858}"/>
              </a:ext>
            </a:extLst>
          </p:cNvPr>
          <p:cNvSpPr txBox="1">
            <a:spLocks/>
          </p:cNvSpPr>
          <p:nvPr/>
        </p:nvSpPr>
        <p:spPr>
          <a:xfrm>
            <a:off x="5626101" y="5537979"/>
            <a:ext cx="5627688" cy="39690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8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oday, this </a:t>
            </a:r>
            <a:r>
              <a:rPr kumimoji="0" lang="en-GB" sz="24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isn’t possible</a:t>
            </a:r>
            <a:r>
              <a:rPr kumimoji="0" lang="en-GB" sz="24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anymore</a:t>
            </a:r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42C89D40-390B-DB3B-6186-06300AB2FDF2}"/>
              </a:ext>
            </a:extLst>
          </p:cNvPr>
          <p:cNvSpPr txBox="1">
            <a:spLocks/>
          </p:cNvSpPr>
          <p:nvPr/>
        </p:nvSpPr>
        <p:spPr>
          <a:xfrm>
            <a:off x="932129" y="3940329"/>
            <a:ext cx="4690533" cy="990600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b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09</a:t>
            </a:r>
          </a:p>
          <a:p>
            <a:pPr marL="0" marR="0" lvl="0" indent="0" algn="l" defTabSz="685766" rtl="0" eaLnBrk="1" fontAlgn="auto" latinLnBrk="0" hangingPunct="1">
              <a:lnSpc>
                <a:spcPts val="266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lileo’s Telescope</a:t>
            </a:r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B13915CD-C670-3589-63DD-6981E48CB560}"/>
              </a:ext>
            </a:extLst>
          </p:cNvPr>
          <p:cNvSpPr txBox="1">
            <a:spLocks/>
          </p:cNvSpPr>
          <p:nvPr/>
        </p:nvSpPr>
        <p:spPr>
          <a:xfrm>
            <a:off x="6562400" y="3940329"/>
            <a:ext cx="4690533" cy="990600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b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68</a:t>
            </a:r>
          </a:p>
          <a:p>
            <a:pPr marL="0" marR="0" lvl="0" indent="0" algn="r" defTabSz="685766" rtl="0" eaLnBrk="1" fontAlgn="auto" latinLnBrk="0" hangingPunct="1">
              <a:lnSpc>
                <a:spcPts val="266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ton’s Reflector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73F9A969-A947-3B4B-DA6E-7467D77E06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C0323E-34AC-4BE8-7B95-BF1B0A4A44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703C52-24E9-5A0C-967D-6C64F98B96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265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9ED79059-C410-4D2A-66CC-5B1F9D3938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EC8A7E8-BECE-6771-8C6A-983067B83EBF}"/>
              </a:ext>
            </a:extLst>
          </p:cNvPr>
          <p:cNvSpPr txBox="1">
            <a:spLocks/>
          </p:cNvSpPr>
          <p:nvPr/>
        </p:nvSpPr>
        <p:spPr>
          <a:xfrm>
            <a:off x="936624" y="4284751"/>
            <a:ext cx="4221164" cy="1198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</a:pPr>
            <a:r>
              <a:rPr lang="en-GB"/>
              <a:t>Telescopes have become </a:t>
            </a:r>
            <a:r>
              <a:rPr lang="en-GB" b="1"/>
              <a:t>huge science powerhouses</a:t>
            </a:r>
            <a:r>
              <a:rPr lang="en-GB"/>
              <a:t> the size of stadiums*</a:t>
            </a:r>
          </a:p>
        </p:txBody>
      </p:sp>
      <p:sp>
        <p:nvSpPr>
          <p:cNvPr id="4" name="Textplatzhalter 1">
            <a:extLst>
              <a:ext uri="{FF2B5EF4-FFF2-40B4-BE49-F238E27FC236}">
                <a16:creationId xmlns:a16="http://schemas.microsoft.com/office/drawing/2014/main" id="{81766451-CA75-99C0-0BAD-B903D9B0FF54}"/>
              </a:ext>
            </a:extLst>
          </p:cNvPr>
          <p:cNvSpPr txBox="1">
            <a:spLocks/>
          </p:cNvSpPr>
          <p:nvPr/>
        </p:nvSpPr>
        <p:spPr>
          <a:xfrm>
            <a:off x="7118158" y="5403414"/>
            <a:ext cx="4191001" cy="517962"/>
          </a:xfrm>
          <a:prstGeom prst="rect">
            <a:avLst/>
          </a:prstGeom>
          <a:noFill/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b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239994" algn="ctr" defTabSz="685766" rtl="0" eaLnBrk="1" fontAlgn="auto" latinLnBrk="0" hangingPunct="1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The main mirror of ESO’s Extremely Large  </a:t>
            </a:r>
            <a:b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elescope will have a diameter of 39 m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CFE680F-A144-BE71-626F-192DDFBB6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0682B2-D84B-590F-A5BD-B22DA070E51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1A0D97-2B1C-A1CC-30B2-6094EA5B7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2101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group of people standing together&#10;&#10;Description automatically generated with medium confidence">
            <a:extLst>
              <a:ext uri="{FF2B5EF4-FFF2-40B4-BE49-F238E27FC236}">
                <a16:creationId xmlns:a16="http://schemas.microsoft.com/office/drawing/2014/main" id="{9CAF1310-D0F8-1919-DE4F-991FD7AFB6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634C8CC-8385-39EA-00B3-4952DA075CE2}"/>
              </a:ext>
            </a:extLst>
          </p:cNvPr>
          <p:cNvSpPr txBox="1">
            <a:spLocks/>
          </p:cNvSpPr>
          <p:nvPr/>
        </p:nvSpPr>
        <p:spPr>
          <a:xfrm>
            <a:off x="936624" y="4652824"/>
            <a:ext cx="10317600" cy="126855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Building them requires </a:t>
            </a:r>
            <a:r>
              <a:rPr lang="en-GB" b="1"/>
              <a:t>bringing together hundreds </a:t>
            </a:r>
            <a:br>
              <a:rPr lang="en-GB"/>
            </a:br>
            <a:r>
              <a:rPr lang="en-GB"/>
              <a:t>of scientists, engineers, construction workers and other suppliers </a:t>
            </a:r>
            <a:br>
              <a:rPr lang="en-GB"/>
            </a:br>
            <a:r>
              <a:rPr lang="en-GB"/>
              <a:t>from all over the world </a:t>
            </a:r>
            <a:r>
              <a:rPr lang="en-GB" b="1"/>
              <a:t>to work hand in hand</a:t>
            </a:r>
            <a:endParaRPr lang="en-GB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82EA415-F0CB-7C3B-D928-8502D490F0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30DD335-D658-6F99-8A1B-F1C6F5185930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ax Alexand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74D613-781C-6860-3287-BC5A43E023B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2E6813-3126-BE46-7104-C3E24C6C4F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48848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FA20DB0B-D9F8-75EA-43FB-BAADEB0439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3A7D14D-7B76-D6ED-A701-80179119FA00}"/>
              </a:ext>
            </a:extLst>
          </p:cNvPr>
          <p:cNvSpPr txBox="1">
            <a:spLocks/>
          </p:cNvSpPr>
          <p:nvPr/>
        </p:nvSpPr>
        <p:spPr>
          <a:xfrm>
            <a:off x="6094412" y="1286880"/>
            <a:ext cx="4689476" cy="3755452"/>
          </a:xfrm>
          <a:prstGeom prst="rect">
            <a:avLst/>
          </a:prstGeom>
          <a:effectLst/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>
                <a:effectLst/>
              </a:rPr>
              <a:t>ESO stands for </a:t>
            </a:r>
            <a:r>
              <a:rPr lang="en-GB" b="1">
                <a:effectLst/>
              </a:rPr>
              <a:t>inherently peaceful collaboration</a:t>
            </a:r>
            <a:r>
              <a:rPr lang="en-GB">
                <a:effectLst/>
              </a:rPr>
              <a:t> between nations, communities and people.</a:t>
            </a:r>
          </a:p>
          <a:p>
            <a:pPr algn="l"/>
            <a:r>
              <a:rPr lang="en-GB">
                <a:effectLst/>
              </a:rPr>
              <a:t>Together we achieve things </a:t>
            </a:r>
            <a:r>
              <a:rPr lang="en-GB" b="1">
                <a:effectLst/>
              </a:rPr>
              <a:t>no Member State could do alone</a:t>
            </a:r>
            <a:r>
              <a:rPr lang="en-GB">
                <a:effectLst/>
              </a:rPr>
              <a:t>. </a:t>
            </a:r>
          </a:p>
          <a:p>
            <a:pPr algn="l"/>
            <a:r>
              <a:rPr lang="en-GB">
                <a:effectLst/>
              </a:rPr>
              <a:t>We build bridges between society, science and technology </a:t>
            </a:r>
            <a:r>
              <a:rPr lang="en-GB" b="1">
                <a:effectLst/>
              </a:rPr>
              <a:t>for the benefit of all humankind</a:t>
            </a:r>
            <a:r>
              <a:rPr lang="en-GB">
                <a:effectLst/>
              </a:rPr>
              <a:t>.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9DC91D3-BBB5-ED3B-C045-136CC4B54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1496D8-BED9-4DD3-D292-E3E10A2A1E3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F586B4-37AE-A92E-5019-9D2E0CD180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54948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98BC580-662B-9F29-2512-57BE27B6F5C8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Our Mission</a:t>
            </a:r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82196F08-7CFF-65B4-EA9D-7809E77E7BA4}"/>
              </a:ext>
            </a:extLst>
          </p:cNvPr>
          <p:cNvSpPr txBox="1">
            <a:spLocks/>
          </p:cNvSpPr>
          <p:nvPr/>
        </p:nvSpPr>
        <p:spPr>
          <a:xfrm>
            <a:off x="1570369" y="2592807"/>
            <a:ext cx="3636796" cy="180459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ts val="3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600" b="0" i="1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We design, build, and operate advanced ground-based observatories</a:t>
            </a:r>
          </a:p>
        </p:txBody>
      </p:sp>
      <p:sp>
        <p:nvSpPr>
          <p:cNvPr id="15" name="Textplatzhalter 1">
            <a:extLst>
              <a:ext uri="{FF2B5EF4-FFF2-40B4-BE49-F238E27FC236}">
                <a16:creationId xmlns:a16="http://schemas.microsoft.com/office/drawing/2014/main" id="{97F3E90C-7BF1-88D9-3706-D8562DC51D85}"/>
              </a:ext>
            </a:extLst>
          </p:cNvPr>
          <p:cNvSpPr txBox="1">
            <a:spLocks/>
          </p:cNvSpPr>
          <p:nvPr/>
        </p:nvSpPr>
        <p:spPr>
          <a:xfrm>
            <a:off x="7942344" y="2856982"/>
            <a:ext cx="3632201" cy="1276247"/>
          </a:xfrm>
          <a:prstGeom prst="rect">
            <a:avLst/>
          </a:prstGeom>
          <a:effectLst/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600" b="0" i="1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We foster international</a:t>
            </a:r>
          </a:p>
          <a:p>
            <a:pPr marL="0" marR="0" lvl="0" indent="0" algn="l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600" b="0" i="1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ollaboration </a:t>
            </a:r>
            <a:br>
              <a:rPr kumimoji="0" lang="en-GB" sz="2600" b="0" i="1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GB" sz="2600" b="0" i="1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for astronomy</a:t>
            </a:r>
          </a:p>
        </p:txBody>
      </p:sp>
      <p:grpSp>
        <p:nvGrpSpPr>
          <p:cNvPr id="16" name="Group 8">
            <a:extLst>
              <a:ext uri="{FF2B5EF4-FFF2-40B4-BE49-F238E27FC236}">
                <a16:creationId xmlns:a16="http://schemas.microsoft.com/office/drawing/2014/main" id="{881F9E7F-C8F9-DDE2-9684-4B935E42FE3D}"/>
              </a:ext>
            </a:extLst>
          </p:cNvPr>
          <p:cNvGrpSpPr/>
          <p:nvPr/>
        </p:nvGrpSpPr>
        <p:grpSpPr>
          <a:xfrm>
            <a:off x="5774040" y="2283620"/>
            <a:ext cx="1612123" cy="2320829"/>
            <a:chOff x="5774040" y="2283620"/>
            <a:chExt cx="1612123" cy="2320829"/>
          </a:xfrm>
        </p:grpSpPr>
        <p:pic>
          <p:nvPicPr>
            <p:cNvPr id="17" name="Grafik 7">
              <a:extLst>
                <a:ext uri="{FF2B5EF4-FFF2-40B4-BE49-F238E27FC236}">
                  <a16:creationId xmlns:a16="http://schemas.microsoft.com/office/drawing/2014/main" id="{425E4165-AA9A-DD18-F238-B282187F1B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400292" y="2283620"/>
              <a:ext cx="311621" cy="311621"/>
            </a:xfrm>
            <a:prstGeom prst="rect">
              <a:avLst/>
            </a:prstGeom>
          </p:spPr>
        </p:pic>
        <p:pic>
          <p:nvPicPr>
            <p:cNvPr id="18" name="Grafik 8">
              <a:extLst>
                <a:ext uri="{FF2B5EF4-FFF2-40B4-BE49-F238E27FC236}">
                  <a16:creationId xmlns:a16="http://schemas.microsoft.com/office/drawing/2014/main" id="{264C80AA-8D16-A2DD-348C-297F75B809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433426" y="4292828"/>
              <a:ext cx="311621" cy="311621"/>
            </a:xfrm>
            <a:prstGeom prst="rect">
              <a:avLst/>
            </a:prstGeom>
          </p:spPr>
        </p:pic>
        <p:pic>
          <p:nvPicPr>
            <p:cNvPr id="19" name="Grafik 9">
              <a:extLst>
                <a:ext uri="{FF2B5EF4-FFF2-40B4-BE49-F238E27FC236}">
                  <a16:creationId xmlns:a16="http://schemas.microsoft.com/office/drawing/2014/main" id="{FBE54F75-9C6C-D5BD-CD06-4D9A79874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74542" y="2846082"/>
              <a:ext cx="311621" cy="311621"/>
            </a:xfrm>
            <a:prstGeom prst="rect">
              <a:avLst/>
            </a:prstGeom>
          </p:spPr>
        </p:pic>
        <p:pic>
          <p:nvPicPr>
            <p:cNvPr id="20" name="Grafik 10">
              <a:extLst>
                <a:ext uri="{FF2B5EF4-FFF2-40B4-BE49-F238E27FC236}">
                  <a16:creationId xmlns:a16="http://schemas.microsoft.com/office/drawing/2014/main" id="{AC09542E-EE5A-1F4A-FE0C-8E41C76FC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74040" y="3083548"/>
              <a:ext cx="311621" cy="311621"/>
            </a:xfrm>
            <a:prstGeom prst="rect">
              <a:avLst/>
            </a:prstGeom>
          </p:spPr>
        </p:pic>
      </p:grpSp>
      <p:cxnSp>
        <p:nvCxnSpPr>
          <p:cNvPr id="25" name="Gerader Verbinder 5">
            <a:extLst>
              <a:ext uri="{FF2B5EF4-FFF2-40B4-BE49-F238E27FC236}">
                <a16:creationId xmlns:a16="http://schemas.microsoft.com/office/drawing/2014/main" id="{30D73912-111F-CF89-4440-2433993A8AD3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fik 25">
            <a:extLst>
              <a:ext uri="{FF2B5EF4-FFF2-40B4-BE49-F238E27FC236}">
                <a16:creationId xmlns:a16="http://schemas.microsoft.com/office/drawing/2014/main" id="{07D43477-2DFA-08B2-9E57-97CDF7E92A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BEF3F7-53A3-2E1E-88E1-28180542F15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B0867A-163D-58E6-F222-68458B6A3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287EC03-1F12-BA9B-CB7C-C7A9EADC42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</p:spTree>
    <p:extLst>
      <p:ext uri="{BB962C8B-B14F-4D97-AF65-F5344CB8AC3E}">
        <p14:creationId xmlns:p14="http://schemas.microsoft.com/office/powerpoint/2010/main" val="470617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A3ACDDA-DCFA-4CD6-48E2-20F64E10D0BD}"/>
              </a:ext>
            </a:extLst>
          </p:cNvPr>
          <p:cNvSpPr txBox="1">
            <a:spLocks/>
          </p:cNvSpPr>
          <p:nvPr/>
        </p:nvSpPr>
        <p:spPr>
          <a:xfrm>
            <a:off x="938457" y="1577975"/>
            <a:ext cx="10316307" cy="15392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his is ESO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C357272-4676-20E7-E3E5-D5ED6810DD7F}"/>
              </a:ext>
            </a:extLst>
          </p:cNvPr>
          <p:cNvSpPr txBox="1">
            <a:spLocks/>
          </p:cNvSpPr>
          <p:nvPr/>
        </p:nvSpPr>
        <p:spPr>
          <a:xfrm>
            <a:off x="938457" y="3740726"/>
            <a:ext cx="10316307" cy="15263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Your Name, Date, Occasion</a:t>
            </a:r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1E2F18C7-0595-8F5C-6BB8-AE24DF2DA6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F1239B2-8F33-8781-FE20-B6DAB363D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98DE5D-4702-17E2-3719-FFDF0795982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8991AA-9405-7E9C-1F39-599E5AE770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04FE5D2-D127-EC9B-75F0-480DDEE289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</p:spTree>
    <p:extLst>
      <p:ext uri="{BB962C8B-B14F-4D97-AF65-F5344CB8AC3E}">
        <p14:creationId xmlns:p14="http://schemas.microsoft.com/office/powerpoint/2010/main" val="24043331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FA20DB0B-D9F8-75EA-43FB-BAADEB0439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3A7D14D-7B76-D6ED-A701-80179119FA00}"/>
              </a:ext>
            </a:extLst>
          </p:cNvPr>
          <p:cNvSpPr txBox="1">
            <a:spLocks/>
          </p:cNvSpPr>
          <p:nvPr/>
        </p:nvSpPr>
        <p:spPr>
          <a:xfrm>
            <a:off x="936624" y="4674022"/>
            <a:ext cx="7502526" cy="1268552"/>
          </a:xfrm>
          <a:prstGeom prst="rect">
            <a:avLst/>
          </a:prstGeom>
          <a:effectLst/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>
                <a:effectLst/>
              </a:rPr>
              <a:t>To </a:t>
            </a:r>
            <a:r>
              <a:rPr lang="en-GB" b="1">
                <a:effectLst/>
              </a:rPr>
              <a:t>advance humanity’s understanding of the Universe</a:t>
            </a:r>
            <a:r>
              <a:rPr lang="en-GB">
                <a:effectLst/>
              </a:rPr>
              <a:t> by working with and for the astronomy community, providing it with </a:t>
            </a:r>
            <a:r>
              <a:rPr lang="en-GB" b="1">
                <a:effectLst/>
              </a:rPr>
              <a:t>world-leading faciliti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9DC91D3-BBB5-ED3B-C045-136CC4B54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E4C893A-418E-F4AC-7657-C8A7891DDB0D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Our Vis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0ECCF5-60A5-4407-791A-CD53F75723E0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G. Beccari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5C746E1-22D4-CDD0-AD91-021AE27E2AD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36F0B9-7BD6-D22D-A942-1FB0A5BCC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14761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E9F70C6-597B-EC5D-B1A8-876EAA9310F7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Our Values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43E73711-6C21-7508-0622-5D1AD920EE69}"/>
              </a:ext>
            </a:extLst>
          </p:cNvPr>
          <p:cNvSpPr txBox="1">
            <a:spLocks/>
          </p:cNvSpPr>
          <p:nvPr/>
        </p:nvSpPr>
        <p:spPr>
          <a:xfrm>
            <a:off x="478253" y="3372804"/>
            <a:ext cx="1401008" cy="105900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strive for excellence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B3C3B8FC-B29F-5D82-1098-CA2E6B1BBBC6}"/>
              </a:ext>
            </a:extLst>
          </p:cNvPr>
          <p:cNvSpPr txBox="1">
            <a:spLocks/>
          </p:cNvSpPr>
          <p:nvPr/>
        </p:nvSpPr>
        <p:spPr>
          <a:xfrm>
            <a:off x="7167539" y="3372836"/>
            <a:ext cx="1601788" cy="10589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foster diversity and inclusion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268F3F52-1625-5EEA-D74F-5C962C6BD09B}"/>
              </a:ext>
            </a:extLst>
          </p:cNvPr>
          <p:cNvSpPr txBox="1">
            <a:spLocks/>
          </p:cNvSpPr>
          <p:nvPr/>
        </p:nvSpPr>
        <p:spPr>
          <a:xfrm>
            <a:off x="4272510" y="3372836"/>
            <a:ext cx="2476394" cy="10589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provide outstanding services to our communities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0B6DFEF0-CA72-16F2-045B-6DAAF53CA0D3}"/>
              </a:ext>
            </a:extLst>
          </p:cNvPr>
          <p:cNvSpPr txBox="1">
            <a:spLocks/>
          </p:cNvSpPr>
          <p:nvPr/>
        </p:nvSpPr>
        <p:spPr>
          <a:xfrm>
            <a:off x="9187962" y="3372836"/>
            <a:ext cx="2539000" cy="10589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believe in the key role of sustainability for our future</a:t>
            </a:r>
          </a:p>
        </p:txBody>
      </p:sp>
      <p:sp>
        <p:nvSpPr>
          <p:cNvPr id="26" name="Titel 9">
            <a:extLst>
              <a:ext uri="{FF2B5EF4-FFF2-40B4-BE49-F238E27FC236}">
                <a16:creationId xmlns:a16="http://schemas.microsoft.com/office/drawing/2014/main" id="{99365351-CA2A-3716-28A2-A9CC428D52D3}"/>
              </a:ext>
            </a:extLst>
          </p:cNvPr>
          <p:cNvSpPr txBox="1">
            <a:spLocks/>
          </p:cNvSpPr>
          <p:nvPr/>
        </p:nvSpPr>
        <p:spPr>
          <a:xfrm>
            <a:off x="936171" y="5193241"/>
            <a:ext cx="10782488" cy="84023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77BE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ts val="3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1" u="none" strike="noStrike" kern="1200" cap="none" spc="0" normalizeH="0" baseline="0">
                <a:ln>
                  <a:noFill/>
                </a:ln>
                <a:solidFill>
                  <a:srgbClr val="FFA300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These values are realised </a:t>
            </a:r>
            <a:br>
              <a:rPr kumimoji="0" lang="en-GB" sz="2600" b="0" i="1" u="none" strike="noStrike" kern="1200" cap="none" spc="0" normalizeH="0" baseline="0">
                <a:ln>
                  <a:noFill/>
                </a:ln>
                <a:solidFill>
                  <a:srgbClr val="FFA300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</a:br>
            <a:r>
              <a:rPr kumimoji="0" lang="en-GB" sz="2600" b="0" i="1" u="none" strike="noStrike" kern="1200" cap="none" spc="0" normalizeH="0" baseline="0">
                <a:ln>
                  <a:noFill/>
                </a:ln>
                <a:solidFill>
                  <a:srgbClr val="FFA300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and maintained by ESO’s peopl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775A428-74F0-DEF1-F974-AB09ED803D48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fik 31">
            <a:extLst>
              <a:ext uri="{FF2B5EF4-FFF2-40B4-BE49-F238E27FC236}">
                <a16:creationId xmlns:a16="http://schemas.microsoft.com/office/drawing/2014/main" id="{F32EF082-BE21-33A9-AE8D-9E8D9B2166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AECD76-5572-C702-33E5-06FCF9941B8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3E9539-247A-F294-49B5-B6FB56049F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1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DAE798-AAE8-0332-D9F1-A6D00AC5C4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3A21C86-8A05-0A69-6283-187EF40A76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8757" y="2069213"/>
            <a:ext cx="1080000" cy="1080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9783AF77-D7A3-8324-BC2B-02AEEB58D8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28433" y="2069213"/>
            <a:ext cx="1080000" cy="1080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FAD00528-1ABA-DBB0-0DCF-7BFA4FA213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970707" y="2069213"/>
            <a:ext cx="1080000" cy="1080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BBAF4FA3-51B4-A653-1A2A-CB2100EBBCD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917462" y="2069213"/>
            <a:ext cx="1080000" cy="1080000"/>
          </a:xfrm>
          <a:prstGeom prst="rect">
            <a:avLst/>
          </a:prstGeom>
        </p:spPr>
      </p:pic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728A21EA-5233-DE77-D806-23D0C2B4A664}"/>
              </a:ext>
            </a:extLst>
          </p:cNvPr>
          <p:cNvSpPr txBox="1">
            <a:spLocks/>
          </p:cNvSpPr>
          <p:nvPr/>
        </p:nvSpPr>
        <p:spPr>
          <a:xfrm>
            <a:off x="2297896" y="3372804"/>
            <a:ext cx="1555979" cy="105900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achieve this through innovation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C5B9C51B-20B2-3D19-ECD8-73D7CC042F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535885" y="2069213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7574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>
            <a:extLst>
              <a:ext uri="{FF2B5EF4-FFF2-40B4-BE49-F238E27FC236}">
                <a16:creationId xmlns:a16="http://schemas.microsoft.com/office/drawing/2014/main" id="{0187D314-530C-B183-12B9-0B6B56888DCB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Our Values</a:t>
            </a:r>
          </a:p>
        </p:txBody>
      </p:sp>
      <p:sp>
        <p:nvSpPr>
          <p:cNvPr id="39" name="Textplatzhalter 1">
            <a:extLst>
              <a:ext uri="{FF2B5EF4-FFF2-40B4-BE49-F238E27FC236}">
                <a16:creationId xmlns:a16="http://schemas.microsoft.com/office/drawing/2014/main" id="{EA21D95A-F7E6-95A0-4EA7-A9D0FACC7E16}"/>
              </a:ext>
            </a:extLst>
          </p:cNvPr>
          <p:cNvSpPr txBox="1">
            <a:spLocks/>
          </p:cNvSpPr>
          <p:nvPr/>
        </p:nvSpPr>
        <p:spPr>
          <a:xfrm>
            <a:off x="941865" y="1968305"/>
            <a:ext cx="3277710" cy="4061997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600" b="0" i="1" u="none" strike="noStrike" kern="1200" cap="none" spc="0" normalizeH="0" baseline="0">
                <a:ln>
                  <a:noFill/>
                </a:ln>
                <a:solidFill>
                  <a:srgbClr val="FFA3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Achieving ESO’s values is only possible on the basis of personal values and attitudes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8AFF4DFD-F74F-D492-5DB0-1DE23FD1AEB9}"/>
              </a:ext>
            </a:extLst>
          </p:cNvPr>
          <p:cNvSpPr txBox="1">
            <a:spLocks/>
          </p:cNvSpPr>
          <p:nvPr/>
        </p:nvSpPr>
        <p:spPr>
          <a:xfrm>
            <a:off x="5694843" y="4371627"/>
            <a:ext cx="1665251" cy="354581"/>
          </a:xfrm>
          <a:prstGeom prst="rect">
            <a:avLst/>
          </a:prstGeom>
        </p:spPr>
        <p:txBody>
          <a:bodyPr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ity</a:t>
            </a:r>
          </a:p>
        </p:txBody>
      </p:sp>
      <p:pic>
        <p:nvPicPr>
          <p:cNvPr id="53" name="Grafik 24">
            <a:extLst>
              <a:ext uri="{FF2B5EF4-FFF2-40B4-BE49-F238E27FC236}">
                <a16:creationId xmlns:a16="http://schemas.microsoft.com/office/drawing/2014/main" id="{3FD1F581-825B-0241-4A0E-3863BAFBDAE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6746" y="2871038"/>
            <a:ext cx="947280" cy="946643"/>
          </a:xfrm>
          <a:prstGeom prst="rect">
            <a:avLst/>
          </a:prstGeom>
        </p:spPr>
      </p:pic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C051C193-CE10-0DD3-A929-603CEC5611FC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9DDC64-14AD-62C8-A9E8-A776257F743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41BFB0-32CC-5341-BAD0-AFD097009A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2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C75818C-9EA1-2CCC-1C1E-6D2A49F367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B57288A-35A2-15D9-D369-F60946949F01}"/>
              </a:ext>
            </a:extLst>
          </p:cNvPr>
          <p:cNvGrpSpPr/>
          <p:nvPr/>
        </p:nvGrpSpPr>
        <p:grpSpPr>
          <a:xfrm>
            <a:off x="5990573" y="399599"/>
            <a:ext cx="5732797" cy="5630260"/>
            <a:chOff x="5990573" y="399599"/>
            <a:chExt cx="5732797" cy="5630260"/>
          </a:xfrm>
        </p:grpSpPr>
        <p:sp>
          <p:nvSpPr>
            <p:cNvPr id="47" name="Textplatzhalter 2">
              <a:extLst>
                <a:ext uri="{FF2B5EF4-FFF2-40B4-BE49-F238E27FC236}">
                  <a16:creationId xmlns:a16="http://schemas.microsoft.com/office/drawing/2014/main" id="{77CAAA97-D24C-2A1A-47B1-160001D1DD21}"/>
                </a:ext>
              </a:extLst>
            </p:cNvPr>
            <p:cNvSpPr txBox="1">
              <a:spLocks/>
            </p:cNvSpPr>
            <p:nvPr/>
          </p:nvSpPr>
          <p:spPr>
            <a:xfrm>
              <a:off x="8209102" y="1495907"/>
              <a:ext cx="1665251" cy="354581"/>
            </a:xfrm>
            <a:prstGeom prst="rect">
              <a:avLst/>
            </a:prstGeom>
          </p:spPr>
          <p:txBody>
            <a:bodyPr/>
            <a:lstStyle>
              <a:lvl1pPr marL="171441" indent="-171441" algn="l" defTabSz="685766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2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07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090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2973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856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1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66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dirty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countability</a:t>
              </a:r>
            </a:p>
          </p:txBody>
        </p:sp>
        <p:sp>
          <p:nvSpPr>
            <p:cNvPr id="48" name="Textplatzhalter 2">
              <a:extLst>
                <a:ext uri="{FF2B5EF4-FFF2-40B4-BE49-F238E27FC236}">
                  <a16:creationId xmlns:a16="http://schemas.microsoft.com/office/drawing/2014/main" id="{097B6F7F-ECCB-A451-AC21-99583C170BBF}"/>
                </a:ext>
              </a:extLst>
            </p:cNvPr>
            <p:cNvSpPr txBox="1">
              <a:spLocks/>
            </p:cNvSpPr>
            <p:nvPr/>
          </p:nvSpPr>
          <p:spPr>
            <a:xfrm>
              <a:off x="5990573" y="2318098"/>
              <a:ext cx="1665251" cy="354581"/>
            </a:xfrm>
            <a:prstGeom prst="rect">
              <a:avLst/>
            </a:prstGeom>
          </p:spPr>
          <p:txBody>
            <a:bodyPr/>
            <a:lstStyle>
              <a:lvl1pPr marL="171441" indent="-171441" algn="l" defTabSz="685766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2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07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090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2973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856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1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66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dirty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pect</a:t>
              </a:r>
            </a:p>
          </p:txBody>
        </p:sp>
        <p:sp>
          <p:nvSpPr>
            <p:cNvPr id="50" name="Textplatzhalter 2">
              <a:extLst>
                <a:ext uri="{FF2B5EF4-FFF2-40B4-BE49-F238E27FC236}">
                  <a16:creationId xmlns:a16="http://schemas.microsoft.com/office/drawing/2014/main" id="{DBEA68D2-6A38-05BA-D131-19CB7B98025C}"/>
                </a:ext>
              </a:extLst>
            </p:cNvPr>
            <p:cNvSpPr txBox="1">
              <a:spLocks/>
            </p:cNvSpPr>
            <p:nvPr/>
          </p:nvSpPr>
          <p:spPr>
            <a:xfrm>
              <a:off x="7296170" y="5675278"/>
              <a:ext cx="1665251" cy="354581"/>
            </a:xfrm>
            <a:prstGeom prst="rect">
              <a:avLst/>
            </a:prstGeom>
          </p:spPr>
          <p:txBody>
            <a:bodyPr/>
            <a:lstStyle>
              <a:lvl1pPr marL="171441" indent="-171441" algn="l" defTabSz="685766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2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07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090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2973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856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1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66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dirty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mitment</a:t>
              </a:r>
            </a:p>
          </p:txBody>
        </p:sp>
        <p:sp>
          <p:nvSpPr>
            <p:cNvPr id="51" name="Textplatzhalter 2">
              <a:extLst>
                <a:ext uri="{FF2B5EF4-FFF2-40B4-BE49-F238E27FC236}">
                  <a16:creationId xmlns:a16="http://schemas.microsoft.com/office/drawing/2014/main" id="{54ED9EEA-F68B-FE13-4A49-3BA0ED4F2CC3}"/>
                </a:ext>
              </a:extLst>
            </p:cNvPr>
            <p:cNvSpPr txBox="1">
              <a:spLocks/>
            </p:cNvSpPr>
            <p:nvPr/>
          </p:nvSpPr>
          <p:spPr>
            <a:xfrm>
              <a:off x="9895490" y="3114920"/>
              <a:ext cx="1665251" cy="354581"/>
            </a:xfrm>
            <a:prstGeom prst="rect">
              <a:avLst/>
            </a:prstGeom>
          </p:spPr>
          <p:txBody>
            <a:bodyPr/>
            <a:lstStyle>
              <a:lvl1pPr marL="171441" indent="-171441" algn="l" defTabSz="685766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2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07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090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2973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856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1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66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dirty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llaboration</a:t>
              </a:r>
            </a:p>
          </p:txBody>
        </p:sp>
        <p:sp>
          <p:nvSpPr>
            <p:cNvPr id="52" name="Textplatzhalter 2">
              <a:extLst>
                <a:ext uri="{FF2B5EF4-FFF2-40B4-BE49-F238E27FC236}">
                  <a16:creationId xmlns:a16="http://schemas.microsoft.com/office/drawing/2014/main" id="{1C213244-807C-7F7D-7189-5D6968191624}"/>
                </a:ext>
              </a:extLst>
            </p:cNvPr>
            <p:cNvSpPr txBox="1">
              <a:spLocks/>
            </p:cNvSpPr>
            <p:nvPr/>
          </p:nvSpPr>
          <p:spPr>
            <a:xfrm>
              <a:off x="9361842" y="5126954"/>
              <a:ext cx="1827211" cy="524156"/>
            </a:xfrm>
            <a:prstGeom prst="rect">
              <a:avLst/>
            </a:prstGeom>
          </p:spPr>
          <p:txBody>
            <a:bodyPr/>
            <a:lstStyle>
              <a:lvl1pPr marL="171441" indent="-171441" algn="l" defTabSz="685766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2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07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090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2973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856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1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66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dirty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ear and open communication</a:t>
              </a:r>
            </a:p>
          </p:txBody>
        </p:sp>
        <p:pic>
          <p:nvPicPr>
            <p:cNvPr id="59" name="Grafik 58">
              <a:extLst>
                <a:ext uri="{FF2B5EF4-FFF2-40B4-BE49-F238E27FC236}">
                  <a16:creationId xmlns:a16="http://schemas.microsoft.com/office/drawing/2014/main" id="{2FE7CE48-A931-D5FB-30D3-38B360641A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228400" y="399599"/>
              <a:ext cx="494970" cy="647783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9E5C27AB-42B4-CBD3-576A-CFDC67C16A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591727" y="534708"/>
              <a:ext cx="900000" cy="900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AE0A094-9ED9-345F-9201-BFE3632E912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278115" y="2107303"/>
              <a:ext cx="900000" cy="900000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DA1DBD1B-E089-511A-19A6-7189D547553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825447" y="4153808"/>
              <a:ext cx="900000" cy="900000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390EEEDF-87DF-C0A4-0170-4D347401FE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678795" y="4838232"/>
              <a:ext cx="900000" cy="900000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82FC9148-4441-5169-B4D1-BAA4A5351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077468" y="3402892"/>
              <a:ext cx="900000" cy="90000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448023A6-AEBF-7E0A-7BB1-79A98AC735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373198" y="1337086"/>
              <a:ext cx="900000" cy="90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96428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2CDCAAC5-4F15-B02A-A713-588D6D2881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C84D3A8-9784-E996-9686-4BB4086BD1A2}"/>
              </a:ext>
            </a:extLst>
          </p:cNvPr>
          <p:cNvSpPr txBox="1">
            <a:spLocks/>
          </p:cNvSpPr>
          <p:nvPr/>
        </p:nvSpPr>
        <p:spPr>
          <a:xfrm>
            <a:off x="936625" y="2371023"/>
            <a:ext cx="4689476" cy="1587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3000" i="1">
                <a:effectLst/>
                <a:latin typeface="Georgia" panose="02040502050405020303" pitchFamily="18" charset="0"/>
              </a:rPr>
              <a:t>Together, </a:t>
            </a:r>
            <a:br>
              <a:rPr lang="en-GB" sz="3000" i="1">
                <a:effectLst/>
                <a:latin typeface="Georgia" panose="02040502050405020303" pitchFamily="18" charset="0"/>
              </a:rPr>
            </a:br>
            <a:r>
              <a:rPr lang="en-GB" sz="3000" i="1">
                <a:effectLst/>
                <a:latin typeface="Georgia" panose="02040502050405020303" pitchFamily="18" charset="0"/>
              </a:rPr>
              <a:t>we’re more than </a:t>
            </a:r>
            <a:br>
              <a:rPr lang="en-GB" sz="3000" i="1">
                <a:effectLst/>
                <a:latin typeface="Georgia" panose="02040502050405020303" pitchFamily="18" charset="0"/>
              </a:rPr>
            </a:br>
            <a:r>
              <a:rPr lang="en-GB" sz="3000" i="1">
                <a:effectLst/>
                <a:latin typeface="Georgia" panose="02040502050405020303" pitchFamily="18" charset="0"/>
              </a:rPr>
              <a:t>the sum of our part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03B39D2-5F2A-CCB9-D466-9FA029B1B0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6F76E73-4573-0884-29E1-D6BBD286E3A5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G. Hüdepohl (atacamaphoto.com)/E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70A2A2-C4B7-7A11-5DCA-5F05F671A8A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89D49B-F998-E9D3-FED1-BDBE0EFEEE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5225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E96BBBD-C844-5764-087F-6C624A9E81F1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ESO in a nutshell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D3A667E-179B-172B-C8E5-9D3B0C93E6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AB99E5-26D6-9419-E281-6880595DF65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A1279C-4502-1936-CD5E-06977520CE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58975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4001DA3-E9B9-B3C8-26F0-A59166695F4E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Founding Member Stat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987378A-4CA8-7B7F-DF9F-79223076E6A8}"/>
              </a:ext>
            </a:extLst>
          </p:cNvPr>
          <p:cNvSpPr txBox="1">
            <a:spLocks/>
          </p:cNvSpPr>
          <p:nvPr/>
        </p:nvSpPr>
        <p:spPr>
          <a:xfrm>
            <a:off x="936624" y="4722843"/>
            <a:ext cx="4221164" cy="1198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i="1" kern="1200">
                <a:solidFill>
                  <a:schemeClr val="tx1"/>
                </a:solidFill>
                <a:effectLst/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b="0"/>
              <a:t>Intergovernmental Treaty </a:t>
            </a:r>
          </a:p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b="0"/>
              <a:t>Organisation, </a:t>
            </a:r>
            <a:r>
              <a:rPr lang="en-GB"/>
              <a:t>founded in 1962 </a:t>
            </a:r>
          </a:p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b="0"/>
              <a:t>by five Member States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9C48CD2B-036C-5462-AA38-13D24A25C000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F4DADA3-A9F5-6CB0-C4D6-E52335ECA1D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6EE1D3-A308-78DE-C28D-D41C7AC05C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5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AB70341-ABE3-35E8-206B-239169F564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515168F-A56F-C5FF-7FBC-1314537AD9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99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AE586E7-AEC6-F66A-1CF6-6792AF40DAD8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Member States and Partner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E73D3EB-D0B4-C5B5-6464-C2ED4333AE9D}"/>
              </a:ext>
            </a:extLst>
          </p:cNvPr>
          <p:cNvSpPr txBox="1">
            <a:spLocks/>
          </p:cNvSpPr>
          <p:nvPr/>
        </p:nvSpPr>
        <p:spPr>
          <a:xfrm>
            <a:off x="936623" y="4244101"/>
            <a:ext cx="2683269" cy="1198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i="1" kern="1200">
                <a:solidFill>
                  <a:schemeClr val="tx1"/>
                </a:solidFill>
                <a:effectLst/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b="0"/>
              <a:t>Today ESO</a:t>
            </a:r>
            <a:br>
              <a:rPr lang="en-GB" b="0"/>
            </a:br>
            <a:r>
              <a:rPr lang="en-GB" b="0"/>
              <a:t>encompasses </a:t>
            </a:r>
            <a:br>
              <a:rPr lang="en-GB" b="0"/>
            </a:br>
            <a:r>
              <a:rPr lang="en-GB"/>
              <a:t>16 Member States</a:t>
            </a:r>
            <a:endParaRPr lang="en-GB" b="0"/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AC20232F-4D7A-C521-41C0-09CF50A30976}"/>
              </a:ext>
            </a:extLst>
          </p:cNvPr>
          <p:cNvSpPr txBox="1">
            <a:spLocks/>
          </p:cNvSpPr>
          <p:nvPr/>
        </p:nvSpPr>
        <p:spPr>
          <a:xfrm>
            <a:off x="4543528" y="5022476"/>
            <a:ext cx="4041570" cy="898900"/>
          </a:xfrm>
          <a:prstGeom prst="rect">
            <a:avLst/>
          </a:prstGeom>
          <a:noFill/>
          <a:effectLst/>
        </p:spPr>
        <p:txBody>
          <a:bodyPr wrap="square"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43996" algn="l" defTabSz="685766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le</a:t>
            </a:r>
            <a:r>
              <a: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the host state to ESO’s telescopes and </a:t>
            </a:r>
            <a:r>
              <a:rPr kumimoji="0" lang="en-GB" sz="18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tralia </a:t>
            </a:r>
            <a:r>
              <a: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a strategic partner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33695856-63F8-991A-2EBC-B76C1C9D6FAB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A3C19380-DD9D-D0B3-7582-0CA1E80540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464D1C-A74E-270C-03D1-762EEA0CF6A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68DF0E-5D91-5FF7-DC7C-0315133A0F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6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4AA631B-1C3E-500E-B0D9-82ACB2D3F5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</p:spTree>
    <p:extLst>
      <p:ext uri="{BB962C8B-B14F-4D97-AF65-F5344CB8AC3E}">
        <p14:creationId xmlns:p14="http://schemas.microsoft.com/office/powerpoint/2010/main" val="34142476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683732D-2257-16AA-4D43-DBD8CE9F0A3F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Annual contributions</a:t>
            </a:r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34005BA2-3069-21EF-38E3-9FEDEBA8A346}"/>
              </a:ext>
            </a:extLst>
          </p:cNvPr>
          <p:cNvSpPr txBox="1">
            <a:spLocks/>
          </p:cNvSpPr>
          <p:nvPr/>
        </p:nvSpPr>
        <p:spPr>
          <a:xfrm>
            <a:off x="941866" y="2373198"/>
            <a:ext cx="4215922" cy="201927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annual Member States’ contribution to ESO is approximately </a:t>
            </a:r>
            <a:r>
              <a:rPr kumimoji="0" lang="en-GB" sz="2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4 million Euros</a:t>
            </a: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or </a:t>
            </a:r>
            <a:r>
              <a:rPr kumimoji="0" lang="en-GB" sz="2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.50 Euros per person </a:t>
            </a: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Europe per year*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32585EC8-036C-15B3-5393-3B83EE77E74B}"/>
              </a:ext>
            </a:extLst>
          </p:cNvPr>
          <p:cNvSpPr txBox="1">
            <a:spLocks/>
          </p:cNvSpPr>
          <p:nvPr/>
        </p:nvSpPr>
        <p:spPr>
          <a:xfrm>
            <a:off x="8907728" y="5249647"/>
            <a:ext cx="2587415" cy="58240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81598" marR="0" lvl="0" indent="-81598" algn="l" defTabSz="914400" rtl="0" eaLnBrk="1" fontAlgn="auto" latinLnBrk="0" hangingPunct="1">
              <a:lnSpc>
                <a:spcPts val="2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About one large </a:t>
            </a:r>
            <a:r>
              <a:rPr kumimoji="0" lang="en-GB" sz="1500" b="0" i="0" u="none" strike="noStrike" kern="120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ffè</a:t>
            </a:r>
            <a:r>
              <a:rPr kumimoji="0" lang="en-GB" sz="15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atte to go in </a:t>
            </a:r>
            <a:r>
              <a:rPr kumimoji="0" lang="en-GB" sz="15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decade</a:t>
            </a:r>
            <a:endParaRPr kumimoji="0" lang="en-GB" sz="15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B6BC7A05-4C1F-5B71-FB82-C11C7C4C95C2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>
            <a:extLst>
              <a:ext uri="{FF2B5EF4-FFF2-40B4-BE49-F238E27FC236}">
                <a16:creationId xmlns:a16="http://schemas.microsoft.com/office/drawing/2014/main" id="{6BD50D43-03F1-B37D-646E-7915B45E4C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944FB8-585A-C9EC-156A-340B55195CD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F507AF-B4BB-7A2C-46AD-FD321F4D76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7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877DF6-455E-6A6D-D039-54BFADF737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</p:spTree>
    <p:extLst>
      <p:ext uri="{BB962C8B-B14F-4D97-AF65-F5344CB8AC3E}">
        <p14:creationId xmlns:p14="http://schemas.microsoft.com/office/powerpoint/2010/main" val="6246233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64552A9-BFD4-1FE0-AADF-991FECDA5D31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ESO telescopes</a:t>
            </a:r>
          </a:p>
        </p:txBody>
      </p:sp>
      <p:pic>
        <p:nvPicPr>
          <p:cNvPr id="19" name="Bildplatzhalter 12">
            <a:extLst>
              <a:ext uri="{FF2B5EF4-FFF2-40B4-BE49-F238E27FC236}">
                <a16:creationId xmlns:a16="http://schemas.microsoft.com/office/drawing/2014/main" id="{C02C2C02-9355-D349-D197-B7689E73471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3454" y="1574800"/>
            <a:ext cx="2590368" cy="18542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7EB811EF-D2D5-19A0-F4E7-DDC3179E60FA}"/>
              </a:ext>
            </a:extLst>
          </p:cNvPr>
          <p:cNvSpPr txBox="1">
            <a:spLocks/>
          </p:cNvSpPr>
          <p:nvPr/>
        </p:nvSpPr>
        <p:spPr>
          <a:xfrm>
            <a:off x="923230" y="3800205"/>
            <a:ext cx="2345905" cy="204684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 operated: </a:t>
            </a:r>
            <a:b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TT </a:t>
            </a: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58 m</a:t>
            </a:r>
            <a:br>
              <a:rPr kumimoji="0" lang="en-GB" sz="15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6-metre telescope</a:t>
            </a: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GB" sz="15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sted telescopes currently in operation: </a:t>
            </a:r>
            <a:r>
              <a:rPr kumimoji="0" lang="en-GB" sz="15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9FAEDD0A-EED3-F1FE-FC07-C03E0FFC5CF9}"/>
              </a:ext>
            </a:extLst>
          </p:cNvPr>
          <p:cNvSpPr txBox="1">
            <a:spLocks/>
          </p:cNvSpPr>
          <p:nvPr/>
        </p:nvSpPr>
        <p:spPr>
          <a:xfrm>
            <a:off x="3513823" y="3800205"/>
            <a:ext cx="2493572" cy="235468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 operated:</a:t>
            </a:r>
            <a:b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LT</a:t>
            </a: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5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VLTI</a:t>
            </a: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x 8.2 m, 4 x 1.8 m</a:t>
            </a:r>
            <a:b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TA </a:t>
            </a: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1 m</a:t>
            </a: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sted telescopes currently in operation: </a:t>
            </a:r>
            <a:b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ST, NGTS, SPECULOOS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160B2783-F1F4-E783-DEAA-53486B3B7FDE}"/>
              </a:ext>
            </a:extLst>
          </p:cNvPr>
          <p:cNvSpPr txBox="1">
            <a:spLocks/>
          </p:cNvSpPr>
          <p:nvPr/>
        </p:nvSpPr>
        <p:spPr>
          <a:xfrm>
            <a:off x="6094703" y="3800205"/>
            <a:ext cx="2250839" cy="6776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 construction:</a:t>
            </a:r>
            <a:br>
              <a:rPr kumimoji="0" lang="en-GB" sz="15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1" i="0" u="none" strike="noStrike" kern="1200" cap="none" spc="0" normalizeH="0" baseline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T </a:t>
            </a:r>
            <a:r>
              <a:rPr kumimoji="0" lang="en-GB" sz="1500" b="0" i="0" u="none" strike="noStrike" kern="1200" cap="none" spc="0" normalizeH="0" baseline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9 m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CF993FB5-33B6-6BD0-68C3-6A594EFBA701}"/>
              </a:ext>
            </a:extLst>
          </p:cNvPr>
          <p:cNvSpPr txBox="1">
            <a:spLocks/>
          </p:cNvSpPr>
          <p:nvPr/>
        </p:nvSpPr>
        <p:spPr>
          <a:xfrm>
            <a:off x="8679046" y="3800205"/>
            <a:ext cx="2240128" cy="2062616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MA</a:t>
            </a: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4 x 12 m and 12 x 7 m antennas</a:t>
            </a:r>
            <a:b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GB" sz="15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GB" sz="16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GB" sz="16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4" name="Bildplatzhalter 14" descr="Ein Bild, das Text, Natur, Nachthimmel enthält.&#10;&#10;Automatisch generierte Beschreibung">
            <a:extLst>
              <a:ext uri="{FF2B5EF4-FFF2-40B4-BE49-F238E27FC236}">
                <a16:creationId xmlns:a16="http://schemas.microsoft.com/office/drawing/2014/main" id="{7176FE55-7ED4-9833-2BE2-34A24F6350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4047" y="1574800"/>
            <a:ext cx="2590368" cy="18542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25" name="Bildplatzhalter 16" descr="Ein Bild, das draußen, Nachthimmel enthält.&#10;&#10;Automatisch generierte Beschreibung">
            <a:extLst>
              <a:ext uri="{FF2B5EF4-FFF2-40B4-BE49-F238E27FC236}">
                <a16:creationId xmlns:a16="http://schemas.microsoft.com/office/drawing/2014/main" id="{8E247ED7-500B-E7EE-9A5E-D7F0E7834E6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4702" y="1574800"/>
            <a:ext cx="2590368" cy="18542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26" name="Bildplatzhalter 18">
            <a:extLst>
              <a:ext uri="{FF2B5EF4-FFF2-40B4-BE49-F238E27FC236}">
                <a16:creationId xmlns:a16="http://schemas.microsoft.com/office/drawing/2014/main" id="{4C0DC1E8-3D12-A912-6378-2E237FE2ECE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79045" y="1574800"/>
            <a:ext cx="2590368" cy="18542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6A31715E-777F-845F-61F0-438E22704A3C}"/>
              </a:ext>
            </a:extLst>
          </p:cNvPr>
          <p:cNvSpPr txBox="1">
            <a:spLocks/>
          </p:cNvSpPr>
          <p:nvPr/>
        </p:nvSpPr>
        <p:spPr>
          <a:xfrm>
            <a:off x="923230" y="3252096"/>
            <a:ext cx="1187201" cy="353808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 anchor="ctr" anchorCtr="0"/>
          <a:lstStyle>
            <a:lvl1pPr marL="0" indent="0" algn="l" defTabSz="685766" rtl="0" eaLnBrk="1" latinLnBrk="0" hangingPunct="1">
              <a:lnSpc>
                <a:spcPts val="21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500" b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996" marR="0" lvl="0" indent="0" algn="l" defTabSz="6857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77BE"/>
                </a:highlight>
                <a:uLnTx/>
                <a:uFillTx/>
                <a:latin typeface="Arial"/>
                <a:ea typeface="+mn-ea"/>
                <a:cs typeface="+mn-cs"/>
              </a:rPr>
              <a:t>La Silla</a:t>
            </a:r>
            <a:endParaRPr kumimoji="0" lang="en-GB" sz="20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highlight>
                <a:srgbClr val="0077BE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FC12979B-649E-57E4-1523-84F9B233CB82}"/>
              </a:ext>
            </a:extLst>
          </p:cNvPr>
          <p:cNvSpPr txBox="1">
            <a:spLocks/>
          </p:cNvSpPr>
          <p:nvPr/>
        </p:nvSpPr>
        <p:spPr>
          <a:xfrm>
            <a:off x="3513823" y="3252096"/>
            <a:ext cx="1187201" cy="353808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 anchor="ctr" anchorCtr="0"/>
          <a:lstStyle>
            <a:lvl1pPr marL="0" indent="0" algn="l" defTabSz="685766" rtl="0" eaLnBrk="1" latinLnBrk="0" hangingPunct="1">
              <a:lnSpc>
                <a:spcPts val="21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500" b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996" marR="0" lvl="0" indent="0" algn="l" defTabSz="6857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77BE"/>
                </a:highlight>
                <a:uLnTx/>
                <a:uFillTx/>
                <a:latin typeface="Arial"/>
                <a:ea typeface="+mn-ea"/>
                <a:cs typeface="+mn-cs"/>
              </a:rPr>
              <a:t>Paranal</a:t>
            </a:r>
            <a:endParaRPr kumimoji="0" lang="en-GB" sz="20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highlight>
                <a:srgbClr val="0077BE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5D6DC5D4-55E7-02E7-BEE2-E58A9E107644}"/>
              </a:ext>
            </a:extLst>
          </p:cNvPr>
          <p:cNvSpPr txBox="1">
            <a:spLocks/>
          </p:cNvSpPr>
          <p:nvPr/>
        </p:nvSpPr>
        <p:spPr>
          <a:xfrm>
            <a:off x="6097643" y="3252096"/>
            <a:ext cx="1668948" cy="353808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 anchor="ctr" anchorCtr="0"/>
          <a:lstStyle>
            <a:lvl1pPr marL="0" indent="0" algn="l" defTabSz="685766" rtl="0" eaLnBrk="1" latinLnBrk="0" hangingPunct="1">
              <a:lnSpc>
                <a:spcPts val="21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500" b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996" marR="0" lvl="0" indent="0" algn="l" defTabSz="6857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77BE"/>
                </a:highlight>
                <a:uLnTx/>
                <a:uFillTx/>
                <a:latin typeface="Arial"/>
                <a:ea typeface="+mn-ea"/>
                <a:cs typeface="+mn-cs"/>
              </a:rPr>
              <a:t>Armazones</a:t>
            </a:r>
            <a:endParaRPr kumimoji="0" lang="en-GB" sz="20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highlight>
                <a:srgbClr val="0077BE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8568E4A6-9226-5C22-7FDA-AD464B4491FE}"/>
              </a:ext>
            </a:extLst>
          </p:cNvPr>
          <p:cNvSpPr txBox="1">
            <a:spLocks/>
          </p:cNvSpPr>
          <p:nvPr/>
        </p:nvSpPr>
        <p:spPr>
          <a:xfrm>
            <a:off x="8679046" y="3240243"/>
            <a:ext cx="1677913" cy="353808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 anchor="ctr" anchorCtr="0"/>
          <a:lstStyle>
            <a:lvl1pPr marL="0" indent="0" algn="l" defTabSz="685766" rtl="0" eaLnBrk="1" latinLnBrk="0" hangingPunct="1">
              <a:lnSpc>
                <a:spcPts val="21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500" b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996" marR="0" lvl="0" indent="0" algn="l" defTabSz="6857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77BE"/>
                </a:highlight>
                <a:uLnTx/>
                <a:uFillTx/>
                <a:latin typeface="Arial"/>
                <a:ea typeface="+mn-ea"/>
                <a:cs typeface="+mn-cs"/>
              </a:rPr>
              <a:t>Chajnantor</a:t>
            </a:r>
            <a:endParaRPr kumimoji="0" lang="en-GB" sz="20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highlight>
                <a:srgbClr val="0077BE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83C23709-4278-D913-7B12-572460D38380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35">
            <a:extLst>
              <a:ext uri="{FF2B5EF4-FFF2-40B4-BE49-F238E27FC236}">
                <a16:creationId xmlns:a16="http://schemas.microsoft.com/office/drawing/2014/main" id="{6CC35C7C-943D-8E6C-33EC-023AB7C0E9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B05E77E-D6E1-CFDF-B688-2F1FF246F23F}"/>
              </a:ext>
            </a:extLst>
          </p:cNvPr>
          <p:cNvSpPr txBox="1"/>
          <p:nvPr/>
        </p:nvSpPr>
        <p:spPr>
          <a:xfrm rot="-5400000">
            <a:off x="161750" y="2336504"/>
            <a:ext cx="1677296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Iztok Bončina/ES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64E7B5-7086-7469-1B35-FDA21FCDA329}"/>
              </a:ext>
            </a:extLst>
          </p:cNvPr>
          <p:cNvSpPr txBox="1"/>
          <p:nvPr/>
        </p:nvSpPr>
        <p:spPr>
          <a:xfrm rot="-5400000">
            <a:off x="2752343" y="2336504"/>
            <a:ext cx="1677296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H.H. Hey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61B652-6402-746D-AA43-9E72C170F3E0}"/>
              </a:ext>
            </a:extLst>
          </p:cNvPr>
          <p:cNvSpPr txBox="1"/>
          <p:nvPr/>
        </p:nvSpPr>
        <p:spPr>
          <a:xfrm rot="-5400000">
            <a:off x="7917341" y="2336504"/>
            <a:ext cx="1677296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C. Malin (christophmalin.com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F09CA4-CE44-7A33-3177-6F8CC79D5D28}"/>
              </a:ext>
            </a:extLst>
          </p:cNvPr>
          <p:cNvSpPr txBox="1"/>
          <p:nvPr/>
        </p:nvSpPr>
        <p:spPr>
          <a:xfrm rot="-5400000">
            <a:off x="5332998" y="2336504"/>
            <a:ext cx="1677296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Calçada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D20D5BE-B13B-DE63-6495-A0F356636C8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13E3716-2C94-8F36-BA6E-A55FE692D8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8</a:t>
            </a:fld>
            <a:endParaRPr lang="en-GB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81D3F0B-F589-D4BE-3132-7765CBEF80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</p:spTree>
    <p:extLst>
      <p:ext uri="{BB962C8B-B14F-4D97-AF65-F5344CB8AC3E}">
        <p14:creationId xmlns:p14="http://schemas.microsoft.com/office/powerpoint/2010/main" val="36364134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92E7603-DF38-96BB-4E0D-976FC4D415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7C74C34-0CA5-753B-1400-0BD927572E00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ESO telescopes</a:t>
            </a:r>
          </a:p>
        </p:txBody>
      </p:sp>
      <p:sp>
        <p:nvSpPr>
          <p:cNvPr id="18" name="Textplatzhalter 1">
            <a:extLst>
              <a:ext uri="{FF2B5EF4-FFF2-40B4-BE49-F238E27FC236}">
                <a16:creationId xmlns:a16="http://schemas.microsoft.com/office/drawing/2014/main" id="{70381F95-E98E-9160-8F66-014D98DA087B}"/>
              </a:ext>
            </a:extLst>
          </p:cNvPr>
          <p:cNvSpPr txBox="1">
            <a:spLocks/>
          </p:cNvSpPr>
          <p:nvPr/>
        </p:nvSpPr>
        <p:spPr>
          <a:xfrm>
            <a:off x="850467" y="1523836"/>
            <a:ext cx="1317454" cy="4947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anal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635235D5-B590-E0E0-FBB1-97018A2CFDF2}"/>
              </a:ext>
            </a:extLst>
          </p:cNvPr>
          <p:cNvSpPr txBox="1">
            <a:spLocks/>
          </p:cNvSpPr>
          <p:nvPr/>
        </p:nvSpPr>
        <p:spPr>
          <a:xfrm>
            <a:off x="2364921" y="4210370"/>
            <a:ext cx="1692752" cy="396240"/>
          </a:xfrm>
          <a:prstGeom prst="rect">
            <a:avLst/>
          </a:prstGeom>
          <a:noFill/>
          <a:effectLst/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mazones</a:t>
            </a:r>
            <a:endParaRPr kumimoji="0" lang="en-GB" sz="24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A9154668-A420-07B1-FE3D-DCB3F79655BC}"/>
              </a:ext>
            </a:extLst>
          </p:cNvPr>
          <p:cNvSpPr txBox="1">
            <a:spLocks/>
          </p:cNvSpPr>
          <p:nvPr/>
        </p:nvSpPr>
        <p:spPr>
          <a:xfrm>
            <a:off x="9053142" y="1573092"/>
            <a:ext cx="1741171" cy="396240"/>
          </a:xfrm>
          <a:prstGeom prst="rect">
            <a:avLst/>
          </a:prstGeom>
          <a:noFill/>
          <a:effectLst/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jnantor</a:t>
            </a:r>
            <a:endParaRPr kumimoji="0" lang="en-GB" sz="24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C0335D4F-9104-F565-D555-B1E21EFD20FC}"/>
              </a:ext>
            </a:extLst>
          </p:cNvPr>
          <p:cNvSpPr txBox="1">
            <a:spLocks/>
          </p:cNvSpPr>
          <p:nvPr/>
        </p:nvSpPr>
        <p:spPr>
          <a:xfrm>
            <a:off x="7651062" y="4208760"/>
            <a:ext cx="1741171" cy="396240"/>
          </a:xfrm>
          <a:prstGeom prst="rect">
            <a:avLst/>
          </a:prstGeom>
          <a:noFill/>
          <a:effectLst/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Silla</a:t>
            </a:r>
          </a:p>
        </p:txBody>
      </p: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2A524F1B-56BB-A55B-611D-99391FCB3490}"/>
              </a:ext>
            </a:extLst>
          </p:cNvPr>
          <p:cNvSpPr txBox="1">
            <a:spLocks/>
          </p:cNvSpPr>
          <p:nvPr/>
        </p:nvSpPr>
        <p:spPr>
          <a:xfrm>
            <a:off x="10014517" y="2856479"/>
            <a:ext cx="884132" cy="385362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MA</a:t>
            </a:r>
          </a:p>
        </p:txBody>
      </p:sp>
      <p:sp>
        <p:nvSpPr>
          <p:cNvPr id="23" name="Textplatzhalter 1">
            <a:extLst>
              <a:ext uri="{FF2B5EF4-FFF2-40B4-BE49-F238E27FC236}">
                <a16:creationId xmlns:a16="http://schemas.microsoft.com/office/drawing/2014/main" id="{3C227AF1-2FAF-581D-0F09-A8F926D04DAD}"/>
              </a:ext>
            </a:extLst>
          </p:cNvPr>
          <p:cNvSpPr txBox="1">
            <a:spLocks/>
          </p:cNvSpPr>
          <p:nvPr/>
        </p:nvSpPr>
        <p:spPr>
          <a:xfrm>
            <a:off x="7398155" y="5494274"/>
            <a:ext cx="2574291" cy="385362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scopes at La Silla</a:t>
            </a:r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A8C86ACC-99B8-FEF6-0CC2-6A015F24B97A}"/>
              </a:ext>
            </a:extLst>
          </p:cNvPr>
          <p:cNvSpPr txBox="1">
            <a:spLocks/>
          </p:cNvSpPr>
          <p:nvPr/>
        </p:nvSpPr>
        <p:spPr>
          <a:xfrm>
            <a:off x="2306643" y="5494274"/>
            <a:ext cx="884132" cy="385362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T**</a:t>
            </a:r>
          </a:p>
        </p:txBody>
      </p: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EDBFA822-FD0C-8DD9-2C95-4E1ECB709D38}"/>
              </a:ext>
            </a:extLst>
          </p:cNvPr>
          <p:cNvSpPr txBox="1">
            <a:spLocks/>
          </p:cNvSpPr>
          <p:nvPr/>
        </p:nvSpPr>
        <p:spPr>
          <a:xfrm>
            <a:off x="3355341" y="2912684"/>
            <a:ext cx="819406" cy="686726"/>
          </a:xfrm>
          <a:prstGeom prst="rect">
            <a:avLst/>
          </a:prstGeom>
          <a:noFill/>
          <a:effectLst/>
        </p:spPr>
        <p:txBody>
          <a:bodyPr wrap="square"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TA</a:t>
            </a:r>
            <a:b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South*</a:t>
            </a:r>
          </a:p>
        </p:txBody>
      </p: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681347E5-6893-06BA-AD63-E87885723D4E}"/>
              </a:ext>
            </a:extLst>
          </p:cNvPr>
          <p:cNvSpPr txBox="1">
            <a:spLocks/>
          </p:cNvSpPr>
          <p:nvPr/>
        </p:nvSpPr>
        <p:spPr>
          <a:xfrm>
            <a:off x="2074809" y="2912684"/>
            <a:ext cx="884132" cy="321883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TA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AD9E7510-C531-2512-2E42-4AF855FD4140}"/>
              </a:ext>
            </a:extLst>
          </p:cNvPr>
          <p:cNvSpPr txBox="1">
            <a:spLocks/>
          </p:cNvSpPr>
          <p:nvPr/>
        </p:nvSpPr>
        <p:spPr>
          <a:xfrm>
            <a:off x="840823" y="2912684"/>
            <a:ext cx="884132" cy="686726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LT</a:t>
            </a:r>
          </a:p>
          <a:p>
            <a:pPr marL="0" marR="0" lvl="0" indent="0" algn="ctr" defTabSz="685766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LTI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AE56D8AC-4731-1BC3-4FE3-E1C37662E9B1}"/>
              </a:ext>
            </a:extLst>
          </p:cNvPr>
          <p:cNvSpPr txBox="1">
            <a:spLocks/>
          </p:cNvSpPr>
          <p:nvPr/>
        </p:nvSpPr>
        <p:spPr>
          <a:xfrm>
            <a:off x="4185887" y="5565723"/>
            <a:ext cx="2102752" cy="593157"/>
          </a:xfrm>
          <a:prstGeom prst="rect">
            <a:avLst/>
          </a:prstGeom>
          <a:noFill/>
          <a:effectLst/>
        </p:spPr>
        <p:txBody>
          <a:bodyPr lIns="0" tIns="0" rIns="0" bIns="0" anchor="t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98" marR="0" lvl="0" indent="-71998" algn="l" defTabSz="685766" rtl="0" eaLnBrk="1" fontAlgn="auto" latinLnBrk="0" hangingPunct="1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 in preparatory phase</a:t>
            </a:r>
          </a:p>
          <a:p>
            <a:pPr marL="71998" marR="0" lvl="0" indent="-71998" algn="l" defTabSz="685766" rtl="0" eaLnBrk="1" fontAlgn="auto" latinLnBrk="0" hangingPunct="1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 under constructio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1FE33FE-A040-CE32-C564-504E0FE1EBA7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afik 33">
            <a:extLst>
              <a:ext uri="{FF2B5EF4-FFF2-40B4-BE49-F238E27FC236}">
                <a16:creationId xmlns:a16="http://schemas.microsoft.com/office/drawing/2014/main" id="{A7F92C71-2CC6-9A02-2EFC-273EC79C9B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B6AA98-E328-6B0D-4220-B6A8F6039E7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ABA83A-8394-859E-8754-997232A3A9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9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C027B90-10E4-3503-6E3E-2E8D40A427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437F0E2-2967-8C73-5E61-37B6785028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0889" y="2171850"/>
            <a:ext cx="684000" cy="6840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2F63E85-B40B-1915-7641-1AB8195A0D09}"/>
              </a:ext>
            </a:extLst>
          </p:cNvPr>
          <p:cNvCxnSpPr>
            <a:cxnSpLocks/>
          </p:cNvCxnSpPr>
          <p:nvPr/>
        </p:nvCxnSpPr>
        <p:spPr>
          <a:xfrm flipH="1">
            <a:off x="7264800" y="2023490"/>
            <a:ext cx="3519088" cy="0"/>
          </a:xfrm>
          <a:prstGeom prst="line">
            <a:avLst/>
          </a:prstGeom>
          <a:ln cap="rnd">
            <a:solidFill>
              <a:schemeClr val="tx1"/>
            </a:solidFill>
            <a:rou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E00ACD-755A-66CC-0C4C-97BB0F6D03D5}"/>
              </a:ext>
            </a:extLst>
          </p:cNvPr>
          <p:cNvCxnSpPr>
            <a:cxnSpLocks/>
          </p:cNvCxnSpPr>
          <p:nvPr/>
        </p:nvCxnSpPr>
        <p:spPr>
          <a:xfrm flipH="1">
            <a:off x="6854825" y="2023490"/>
            <a:ext cx="409975" cy="436934"/>
          </a:xfrm>
          <a:prstGeom prst="line">
            <a:avLst/>
          </a:prstGeom>
          <a:ln cap="rnd">
            <a:solidFill>
              <a:schemeClr val="tx1"/>
            </a:solidFill>
            <a:round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06A626-5FA7-BFBE-60DE-A8CE11DD3B53}"/>
              </a:ext>
            </a:extLst>
          </p:cNvPr>
          <p:cNvCxnSpPr>
            <a:cxnSpLocks/>
          </p:cNvCxnSpPr>
          <p:nvPr/>
        </p:nvCxnSpPr>
        <p:spPr>
          <a:xfrm flipH="1">
            <a:off x="936625" y="2023490"/>
            <a:ext cx="4105763" cy="0"/>
          </a:xfrm>
          <a:prstGeom prst="line">
            <a:avLst/>
          </a:prstGeom>
          <a:ln cap="rnd">
            <a:solidFill>
              <a:schemeClr val="tx1"/>
            </a:solidFill>
            <a:rou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130102F-7D6F-E3BA-6DA1-9BD84328A5D7}"/>
              </a:ext>
            </a:extLst>
          </p:cNvPr>
          <p:cNvCxnSpPr>
            <a:cxnSpLocks/>
          </p:cNvCxnSpPr>
          <p:nvPr/>
        </p:nvCxnSpPr>
        <p:spPr>
          <a:xfrm>
            <a:off x="5042388" y="2023490"/>
            <a:ext cx="1213339" cy="785164"/>
          </a:xfrm>
          <a:prstGeom prst="line">
            <a:avLst/>
          </a:prstGeom>
          <a:ln cap="rnd">
            <a:solidFill>
              <a:schemeClr val="tx1"/>
            </a:solidFill>
            <a:round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896E2AE-219D-5954-BE86-78A7364675DC}"/>
              </a:ext>
            </a:extLst>
          </p:cNvPr>
          <p:cNvCxnSpPr>
            <a:cxnSpLocks/>
          </p:cNvCxnSpPr>
          <p:nvPr/>
        </p:nvCxnSpPr>
        <p:spPr>
          <a:xfrm flipH="1">
            <a:off x="2343150" y="4661915"/>
            <a:ext cx="2190750" cy="0"/>
          </a:xfrm>
          <a:prstGeom prst="line">
            <a:avLst/>
          </a:prstGeom>
          <a:ln cap="rnd">
            <a:solidFill>
              <a:schemeClr val="tx1"/>
            </a:solidFill>
            <a:rou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CE2165B-FF02-0B69-0868-CC11DE529117}"/>
              </a:ext>
            </a:extLst>
          </p:cNvPr>
          <p:cNvCxnSpPr>
            <a:cxnSpLocks/>
          </p:cNvCxnSpPr>
          <p:nvPr/>
        </p:nvCxnSpPr>
        <p:spPr>
          <a:xfrm flipV="1">
            <a:off x="4533900" y="2808654"/>
            <a:ext cx="1774825" cy="1853261"/>
          </a:xfrm>
          <a:prstGeom prst="line">
            <a:avLst/>
          </a:prstGeom>
          <a:ln cap="rnd">
            <a:solidFill>
              <a:schemeClr val="tx1"/>
            </a:solidFill>
            <a:round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152F859-9025-F601-2DE7-60DBA884B71B}"/>
              </a:ext>
            </a:extLst>
          </p:cNvPr>
          <p:cNvCxnSpPr>
            <a:cxnSpLocks/>
          </p:cNvCxnSpPr>
          <p:nvPr/>
        </p:nvCxnSpPr>
        <p:spPr>
          <a:xfrm flipH="1">
            <a:off x="6515100" y="4661915"/>
            <a:ext cx="2877133" cy="0"/>
          </a:xfrm>
          <a:prstGeom prst="line">
            <a:avLst/>
          </a:prstGeom>
          <a:ln cap="rnd">
            <a:solidFill>
              <a:schemeClr val="tx1"/>
            </a:solidFill>
            <a:rou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B2231AD-67D9-87B9-B1F8-5AAB2883FE1D}"/>
              </a:ext>
            </a:extLst>
          </p:cNvPr>
          <p:cNvCxnSpPr>
            <a:cxnSpLocks/>
          </p:cNvCxnSpPr>
          <p:nvPr/>
        </p:nvCxnSpPr>
        <p:spPr>
          <a:xfrm>
            <a:off x="6156325" y="4159250"/>
            <a:ext cx="358775" cy="502665"/>
          </a:xfrm>
          <a:prstGeom prst="line">
            <a:avLst/>
          </a:prstGeom>
          <a:ln cap="rnd">
            <a:solidFill>
              <a:schemeClr val="tx1"/>
            </a:solidFill>
            <a:round/>
            <a:headEnd type="oval" w="sm" len="sm"/>
            <a:tail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>
            <a:extLst>
              <a:ext uri="{FF2B5EF4-FFF2-40B4-BE49-F238E27FC236}">
                <a16:creationId xmlns:a16="http://schemas.microsoft.com/office/drawing/2014/main" id="{4E02CAE5-EFD4-8A4C-8450-D8A1A0174B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74875" y="2171850"/>
            <a:ext cx="684000" cy="6840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E6C57E01-C830-8180-82CF-EFAE42769B1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10128" y="2171850"/>
            <a:ext cx="684000" cy="6840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B3FE9B10-63C6-199C-C3FD-75CABCF9252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114583" y="2171850"/>
            <a:ext cx="684000" cy="6840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E7FD6A60-5874-423D-B539-83F5D29E55F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334709" y="4750581"/>
            <a:ext cx="828000" cy="828000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B3B5E489-0704-04BF-707F-03F5599F9103}"/>
              </a:ext>
            </a:extLst>
          </p:cNvPr>
          <p:cNvGrpSpPr/>
          <p:nvPr/>
        </p:nvGrpSpPr>
        <p:grpSpPr>
          <a:xfrm>
            <a:off x="7961112" y="4811174"/>
            <a:ext cx="1448377" cy="702664"/>
            <a:chOff x="7963550" y="4811174"/>
            <a:chExt cx="1448377" cy="702664"/>
          </a:xfrm>
        </p:grpSpPr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FCC9BC6D-0315-7A23-5A65-A58482BEC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727927" y="4811174"/>
              <a:ext cx="684000" cy="684000"/>
            </a:xfrm>
            <a:prstGeom prst="rect">
              <a:avLst/>
            </a:prstGeom>
          </p:spPr>
        </p:pic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BAE25C79-AFA4-A80A-C461-993526BAC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7963550" y="4829838"/>
              <a:ext cx="684000" cy="68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74344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DAF076D-0712-C824-558C-31BD0E796F5C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Introduction</a:t>
            </a:r>
            <a:br>
              <a:rPr lang="en-GB"/>
            </a:br>
            <a:r>
              <a:rPr lang="en-GB" b="0" i="1">
                <a:latin typeface="Georgia" panose="02040502050405020303" pitchFamily="18" charset="0"/>
              </a:rPr>
              <a:t>Questions and answers</a:t>
            </a:r>
            <a:endParaRPr lang="en-GB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A1ABA0A-FA51-044C-9643-EDA60B92D1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FBAFA3-3C0E-1BBE-2CBA-52B5B7E6A36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4544D1-37C2-E357-98CA-24A14D89F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55964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8B8591B-965D-12AB-8830-A19A30A565BF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Wavelengths of ESO telescopes</a:t>
            </a:r>
          </a:p>
        </p:txBody>
      </p:sp>
      <p:sp>
        <p:nvSpPr>
          <p:cNvPr id="18" name="Titel 3">
            <a:extLst>
              <a:ext uri="{FF2B5EF4-FFF2-40B4-BE49-F238E27FC236}">
                <a16:creationId xmlns:a16="http://schemas.microsoft.com/office/drawing/2014/main" id="{EBBC4A03-F10C-E021-1999-85EA2AFDB199}"/>
              </a:ext>
            </a:extLst>
          </p:cNvPr>
          <p:cNvSpPr txBox="1">
            <a:spLocks/>
          </p:cNvSpPr>
          <p:nvPr/>
        </p:nvSpPr>
        <p:spPr>
          <a:xfrm rot="16200000">
            <a:off x="1638679" y="1666561"/>
            <a:ext cx="680987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Radio</a:t>
            </a:r>
          </a:p>
        </p:txBody>
      </p:sp>
      <p:sp>
        <p:nvSpPr>
          <p:cNvPr id="19" name="Titel 3">
            <a:extLst>
              <a:ext uri="{FF2B5EF4-FFF2-40B4-BE49-F238E27FC236}">
                <a16:creationId xmlns:a16="http://schemas.microsoft.com/office/drawing/2014/main" id="{63DDA821-A038-4AFB-D126-E4625B086535}"/>
              </a:ext>
            </a:extLst>
          </p:cNvPr>
          <p:cNvSpPr txBox="1">
            <a:spLocks/>
          </p:cNvSpPr>
          <p:nvPr/>
        </p:nvSpPr>
        <p:spPr>
          <a:xfrm rot="16200000">
            <a:off x="2555847" y="1938490"/>
            <a:ext cx="1224844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Microwave</a:t>
            </a:r>
          </a:p>
        </p:txBody>
      </p:sp>
      <p:sp>
        <p:nvSpPr>
          <p:cNvPr id="20" name="Titel 3">
            <a:extLst>
              <a:ext uri="{FF2B5EF4-FFF2-40B4-BE49-F238E27FC236}">
                <a16:creationId xmlns:a16="http://schemas.microsoft.com/office/drawing/2014/main" id="{EE61EC0F-C579-6F75-5AC1-597F93B10719}"/>
              </a:ext>
            </a:extLst>
          </p:cNvPr>
          <p:cNvSpPr txBox="1">
            <a:spLocks/>
          </p:cNvSpPr>
          <p:nvPr/>
        </p:nvSpPr>
        <p:spPr>
          <a:xfrm rot="16200000">
            <a:off x="3901157" y="1938489"/>
            <a:ext cx="1224843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Infrared</a:t>
            </a:r>
          </a:p>
        </p:txBody>
      </p:sp>
      <p:sp>
        <p:nvSpPr>
          <p:cNvPr id="21" name="Titel 3">
            <a:extLst>
              <a:ext uri="{FF2B5EF4-FFF2-40B4-BE49-F238E27FC236}">
                <a16:creationId xmlns:a16="http://schemas.microsoft.com/office/drawing/2014/main" id="{2783DC87-E59C-000C-85CD-853611DAECD2}"/>
              </a:ext>
            </a:extLst>
          </p:cNvPr>
          <p:cNvSpPr txBox="1">
            <a:spLocks/>
          </p:cNvSpPr>
          <p:nvPr/>
        </p:nvSpPr>
        <p:spPr>
          <a:xfrm rot="16200000">
            <a:off x="5453422" y="1724006"/>
            <a:ext cx="795877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Visible</a:t>
            </a:r>
          </a:p>
        </p:txBody>
      </p:sp>
      <p:sp>
        <p:nvSpPr>
          <p:cNvPr id="22" name="Titel 3">
            <a:extLst>
              <a:ext uri="{FF2B5EF4-FFF2-40B4-BE49-F238E27FC236}">
                <a16:creationId xmlns:a16="http://schemas.microsoft.com/office/drawing/2014/main" id="{23BAACAF-6EE6-A148-BC20-300BA9825F7A}"/>
              </a:ext>
            </a:extLst>
          </p:cNvPr>
          <p:cNvSpPr txBox="1">
            <a:spLocks/>
          </p:cNvSpPr>
          <p:nvPr/>
        </p:nvSpPr>
        <p:spPr>
          <a:xfrm rot="16200000">
            <a:off x="7140033" y="1758805"/>
            <a:ext cx="865475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X-Rays</a:t>
            </a:r>
          </a:p>
        </p:txBody>
      </p:sp>
      <p:sp>
        <p:nvSpPr>
          <p:cNvPr id="23" name="Titel 3">
            <a:extLst>
              <a:ext uri="{FF2B5EF4-FFF2-40B4-BE49-F238E27FC236}">
                <a16:creationId xmlns:a16="http://schemas.microsoft.com/office/drawing/2014/main" id="{DE52B301-C0EF-E43A-68EF-2DD5191517D0}"/>
              </a:ext>
            </a:extLst>
          </p:cNvPr>
          <p:cNvSpPr txBox="1">
            <a:spLocks/>
          </p:cNvSpPr>
          <p:nvPr/>
        </p:nvSpPr>
        <p:spPr>
          <a:xfrm rot="16200000">
            <a:off x="8842523" y="1968597"/>
            <a:ext cx="1285059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Gamma Rays</a:t>
            </a:r>
          </a:p>
        </p:txBody>
      </p:sp>
      <p:sp>
        <p:nvSpPr>
          <p:cNvPr id="24" name="Titel 3">
            <a:extLst>
              <a:ext uri="{FF2B5EF4-FFF2-40B4-BE49-F238E27FC236}">
                <a16:creationId xmlns:a16="http://schemas.microsoft.com/office/drawing/2014/main" id="{32E2A1F6-5A69-76B9-ED47-8E0688EE2997}"/>
              </a:ext>
            </a:extLst>
          </p:cNvPr>
          <p:cNvSpPr txBox="1">
            <a:spLocks/>
          </p:cNvSpPr>
          <p:nvPr/>
        </p:nvSpPr>
        <p:spPr>
          <a:xfrm>
            <a:off x="1920782" y="5258451"/>
            <a:ext cx="680987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ALMA</a:t>
            </a:r>
          </a:p>
        </p:txBody>
      </p:sp>
      <p:sp>
        <p:nvSpPr>
          <p:cNvPr id="25" name="Titel 3">
            <a:extLst>
              <a:ext uri="{FF2B5EF4-FFF2-40B4-BE49-F238E27FC236}">
                <a16:creationId xmlns:a16="http://schemas.microsoft.com/office/drawing/2014/main" id="{A95D1B16-3227-CF37-FA9B-EAED947ED9B3}"/>
              </a:ext>
            </a:extLst>
          </p:cNvPr>
          <p:cNvSpPr txBox="1">
            <a:spLocks/>
          </p:cNvSpPr>
          <p:nvPr/>
        </p:nvSpPr>
        <p:spPr>
          <a:xfrm>
            <a:off x="3269865" y="5292932"/>
            <a:ext cx="1695947" cy="582339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32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VLT, VLTI, </a:t>
            </a:r>
          </a:p>
          <a:p>
            <a:pPr marL="0" marR="0" lvl="0" indent="0" algn="ctr" defTabSz="914332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VISTA</a:t>
            </a:r>
          </a:p>
        </p:txBody>
      </p:sp>
      <p:sp>
        <p:nvSpPr>
          <p:cNvPr id="26" name="Titel 3">
            <a:extLst>
              <a:ext uri="{FF2B5EF4-FFF2-40B4-BE49-F238E27FC236}">
                <a16:creationId xmlns:a16="http://schemas.microsoft.com/office/drawing/2014/main" id="{47981147-EABF-9E43-E60B-7C17239ABF63}"/>
              </a:ext>
            </a:extLst>
          </p:cNvPr>
          <p:cNvSpPr txBox="1">
            <a:spLocks/>
          </p:cNvSpPr>
          <p:nvPr/>
        </p:nvSpPr>
        <p:spPr>
          <a:xfrm>
            <a:off x="4981489" y="5292932"/>
            <a:ext cx="1793053" cy="582339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32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ESO 3.6-metre telescope and NTT</a:t>
            </a:r>
          </a:p>
        </p:txBody>
      </p:sp>
      <p:sp>
        <p:nvSpPr>
          <p:cNvPr id="27" name="Titel 3">
            <a:extLst>
              <a:ext uri="{FF2B5EF4-FFF2-40B4-BE49-F238E27FC236}">
                <a16:creationId xmlns:a16="http://schemas.microsoft.com/office/drawing/2014/main" id="{A3069D81-D659-9759-D3A7-04327074C16D}"/>
              </a:ext>
            </a:extLst>
          </p:cNvPr>
          <p:cNvSpPr txBox="1">
            <a:spLocks/>
          </p:cNvSpPr>
          <p:nvPr/>
        </p:nvSpPr>
        <p:spPr>
          <a:xfrm>
            <a:off x="6693088" y="5292932"/>
            <a:ext cx="1793053" cy="582339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32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ELT under construction</a:t>
            </a:r>
          </a:p>
        </p:txBody>
      </p:sp>
      <p:sp>
        <p:nvSpPr>
          <p:cNvPr id="28" name="Titel 3">
            <a:extLst>
              <a:ext uri="{FF2B5EF4-FFF2-40B4-BE49-F238E27FC236}">
                <a16:creationId xmlns:a16="http://schemas.microsoft.com/office/drawing/2014/main" id="{F7F2BA7E-04C5-77A6-B88B-B7EEE19235E7}"/>
              </a:ext>
            </a:extLst>
          </p:cNvPr>
          <p:cNvSpPr txBox="1">
            <a:spLocks/>
          </p:cNvSpPr>
          <p:nvPr/>
        </p:nvSpPr>
        <p:spPr>
          <a:xfrm>
            <a:off x="9351626" y="5292932"/>
            <a:ext cx="1793053" cy="582339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32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CTA-South in preparatory phase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70369498-950E-9FC6-30DC-2DF4E9F0DA45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afik 33">
            <a:extLst>
              <a:ext uri="{FF2B5EF4-FFF2-40B4-BE49-F238E27FC236}">
                <a16:creationId xmlns:a16="http://schemas.microsoft.com/office/drawing/2014/main" id="{3395AB1A-BF56-1B47-67EE-76C598D28B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A24AE6-EE45-7B24-55BD-05D5D54F875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80AF0E-FC20-AEC0-6211-AB6032D569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0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412CF0-DF87-279F-4FF0-0AE70EA4EE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AE0439-5064-1414-98C6-78C1FABD5449}"/>
              </a:ext>
            </a:extLst>
          </p:cNvPr>
          <p:cNvGrpSpPr/>
          <p:nvPr/>
        </p:nvGrpSpPr>
        <p:grpSpPr>
          <a:xfrm>
            <a:off x="3423279" y="4529466"/>
            <a:ext cx="1389117" cy="702664"/>
            <a:chOff x="3403514" y="4476130"/>
            <a:chExt cx="1389117" cy="702664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C43D8BF5-BF66-14B3-E454-A2C234D7E0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03514" y="4494794"/>
              <a:ext cx="684000" cy="684000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4CC4611B-AA30-1D38-89DF-A94AD3978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108631" y="4476130"/>
              <a:ext cx="684000" cy="684000"/>
            </a:xfrm>
            <a:prstGeom prst="rect">
              <a:avLst/>
            </a:prstGeom>
          </p:spPr>
        </p:pic>
      </p:grpSp>
      <p:pic>
        <p:nvPicPr>
          <p:cNvPr id="10" name="Graphic 9">
            <a:extLst>
              <a:ext uri="{FF2B5EF4-FFF2-40B4-BE49-F238E27FC236}">
                <a16:creationId xmlns:a16="http://schemas.microsoft.com/office/drawing/2014/main" id="{73EB303D-3172-492A-261D-3F5D45472D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75614" y="4476130"/>
            <a:ext cx="828000" cy="82800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39FE1B65-893C-F882-412F-812B349565A1}"/>
              </a:ext>
            </a:extLst>
          </p:cNvPr>
          <p:cNvGrpSpPr/>
          <p:nvPr/>
        </p:nvGrpSpPr>
        <p:grpSpPr>
          <a:xfrm>
            <a:off x="5153827" y="4538798"/>
            <a:ext cx="1448377" cy="702664"/>
            <a:chOff x="7963550" y="4811174"/>
            <a:chExt cx="1448377" cy="702664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7DB51376-82F1-3C72-06EA-35CF0DCFE2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727927" y="4811174"/>
              <a:ext cx="684000" cy="684000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63487C7C-B0EC-1EFB-8E69-2A081D13EF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963550" y="4829838"/>
              <a:ext cx="684000" cy="68400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8F0809B-1B47-D407-4232-4027DEA261C6}"/>
              </a:ext>
            </a:extLst>
          </p:cNvPr>
          <p:cNvGrpSpPr/>
          <p:nvPr/>
        </p:nvGrpSpPr>
        <p:grpSpPr>
          <a:xfrm>
            <a:off x="9763823" y="4538798"/>
            <a:ext cx="968658" cy="684000"/>
            <a:chOff x="9822774" y="4538798"/>
            <a:chExt cx="968658" cy="684000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F2AB78B0-E6D1-4E9C-00E3-391E33D28D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822774" y="4538798"/>
              <a:ext cx="684000" cy="684000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A75F87A5-6F74-168B-AA8C-77E66E1EE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0323432" y="4745466"/>
              <a:ext cx="468000" cy="468000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BC36F6F-209F-A5A3-7133-21EDA84BB66A}"/>
              </a:ext>
            </a:extLst>
          </p:cNvPr>
          <p:cNvGrpSpPr/>
          <p:nvPr/>
        </p:nvGrpSpPr>
        <p:grpSpPr>
          <a:xfrm>
            <a:off x="1733246" y="4529466"/>
            <a:ext cx="1056059" cy="684000"/>
            <a:chOff x="1718732" y="4529466"/>
            <a:chExt cx="1056059" cy="684000"/>
          </a:xfrm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E02C35CF-21F0-131F-D8CE-B0FF0205CD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1718732" y="4529466"/>
              <a:ext cx="684000" cy="684000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14A76C29-0D35-4269-E6FF-543649A3A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2306791" y="4738209"/>
              <a:ext cx="468000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686308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circle with white text&#10;&#10;AI-generated content may be incorrect.">
            <a:extLst>
              <a:ext uri="{FF2B5EF4-FFF2-40B4-BE49-F238E27FC236}">
                <a16:creationId xmlns:a16="http://schemas.microsoft.com/office/drawing/2014/main" id="{73D84B6B-4E06-510D-F470-3E73C2B648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18" y="369409"/>
            <a:ext cx="11287825" cy="6350874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38DE432-6DA1-AA16-02BD-D60089D1C468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Staff</a:t>
            </a:r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A76D552D-0F8A-A6B4-4573-B06C8B685580}"/>
              </a:ext>
            </a:extLst>
          </p:cNvPr>
          <p:cNvSpPr txBox="1">
            <a:spLocks/>
          </p:cNvSpPr>
          <p:nvPr/>
        </p:nvSpPr>
        <p:spPr>
          <a:xfrm>
            <a:off x="9377363" y="1807028"/>
            <a:ext cx="1987664" cy="4385733"/>
          </a:xfrm>
          <a:prstGeom prst="rect">
            <a:avLst/>
          </a:prstGeom>
          <a:noFill/>
        </p:spPr>
        <p:txBody>
          <a:bodyPr anchor="b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 employs</a:t>
            </a:r>
            <a:b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than</a:t>
            </a:r>
            <a:b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50 people</a:t>
            </a:r>
            <a: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  <a: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than</a:t>
            </a:r>
            <a:b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 </a:t>
            </a:r>
            <a: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ities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3D65D77F-3EB9-0095-D12B-6CCB0E44F23D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95684C0F-A885-38C1-2F74-39C6188543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8FB382-9A11-A671-702A-4DA115907E7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72BCFF-A34F-075B-636F-C61D47195E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1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0DE6375-C4A5-A403-AB0E-CA44D453CD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</p:spTree>
    <p:extLst>
      <p:ext uri="{BB962C8B-B14F-4D97-AF65-F5344CB8AC3E}">
        <p14:creationId xmlns:p14="http://schemas.microsoft.com/office/powerpoint/2010/main" val="17005961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>
            <a:extLst>
              <a:ext uri="{FF2B5EF4-FFF2-40B4-BE49-F238E27FC236}">
                <a16:creationId xmlns:a16="http://schemas.microsoft.com/office/drawing/2014/main" id="{32113D5A-A660-D1A7-B75F-7D1446A6EF89}"/>
              </a:ext>
            </a:extLst>
          </p:cNvPr>
          <p:cNvSpPr txBox="1">
            <a:spLocks/>
          </p:cNvSpPr>
          <p:nvPr/>
        </p:nvSpPr>
        <p:spPr>
          <a:xfrm>
            <a:off x="928466" y="5093547"/>
            <a:ext cx="10311069" cy="83099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e than </a:t>
            </a:r>
            <a:r>
              <a:rPr kumimoji="0" lang="en-GB" sz="24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000</a:t>
            </a:r>
            <a:r>
              <a:rPr kumimoji="0" lang="en-GB" sz="24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stronomers, other scientists, teachers, students, journalists, etc. in </a:t>
            </a:r>
            <a:r>
              <a:rPr kumimoji="0" lang="en-GB" sz="24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ver 130 countries</a:t>
            </a:r>
            <a:r>
              <a:rPr kumimoji="0" lang="en-GB" sz="24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orldwide use ESO data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2AFFD1E5-264A-A493-2116-1CB5E7433699}"/>
              </a:ext>
            </a:extLst>
          </p:cNvPr>
          <p:cNvSpPr txBox="1">
            <a:spLocks/>
          </p:cNvSpPr>
          <p:nvPr/>
        </p:nvSpPr>
        <p:spPr>
          <a:xfrm>
            <a:off x="4053470" y="3014134"/>
            <a:ext cx="4239579" cy="109487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Usage of  </a:t>
            </a:r>
            <a:br>
              <a:rPr lang="en-GB"/>
            </a:br>
            <a:r>
              <a:rPr lang="en-GB"/>
              <a:t>      ESO data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DA39EDE-681C-A2B5-8705-1E3C61328658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59E813B9-2A83-DE2E-0328-D5D02E8D42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84D119-8290-A630-211D-E75FCB31A74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34A138-3595-1797-60AD-FA0871A6E7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2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53E1EA0-0482-51EA-317B-E3B1710A0D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</p:spTree>
    <p:extLst>
      <p:ext uri="{BB962C8B-B14F-4D97-AF65-F5344CB8AC3E}">
        <p14:creationId xmlns:p14="http://schemas.microsoft.com/office/powerpoint/2010/main" val="412829051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graph of a graph with numbers and lines&#10;&#10;AI-generated content may be incorrect.">
            <a:extLst>
              <a:ext uri="{FF2B5EF4-FFF2-40B4-BE49-F238E27FC236}">
                <a16:creationId xmlns:a16="http://schemas.microsoft.com/office/drawing/2014/main" id="{FC7FC450-3D1F-107E-75E6-EDC3BE2F2F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202" y="1094574"/>
            <a:ext cx="10483596" cy="534924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BE89CDD-BAB2-7207-D039-D711F465405E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ESO’s publications record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D0A5B4B-7442-1A23-67A6-2255368E65C7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0AD2D694-87DD-A348-AC78-F7175923CE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3283BF-42DF-BF5C-8EC7-CAC2320246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379D44-973E-3D55-0267-21C30F439F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3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51CBC19-AA20-FAB7-506E-39AFDE32A6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</p:spTree>
    <p:extLst>
      <p:ext uri="{BB962C8B-B14F-4D97-AF65-F5344CB8AC3E}">
        <p14:creationId xmlns:p14="http://schemas.microsoft.com/office/powerpoint/2010/main" val="28476789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E8A4CBF0-F346-2F5C-7470-E8505816F04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9474A8A-7B28-045F-3423-0077BCE145D3}"/>
              </a:ext>
            </a:extLst>
          </p:cNvPr>
          <p:cNvSpPr txBox="1">
            <a:spLocks/>
          </p:cNvSpPr>
          <p:nvPr/>
        </p:nvSpPr>
        <p:spPr>
          <a:xfrm>
            <a:off x="936624" y="5106570"/>
            <a:ext cx="10317600" cy="8402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400"/>
              </a:lnSpc>
              <a:spcBef>
                <a:spcPts val="0"/>
              </a:spcBef>
            </a:pPr>
            <a:r>
              <a:rPr lang="en-GB" sz="2600" i="1">
                <a:latin typeface="Georgia" panose="02040502050405020303" pitchFamily="18" charset="0"/>
              </a:rPr>
              <a:t>How do we know</a:t>
            </a:r>
          </a:p>
          <a:p>
            <a:pPr>
              <a:lnSpc>
                <a:spcPts val="3400"/>
              </a:lnSpc>
              <a:spcBef>
                <a:spcPts val="0"/>
              </a:spcBef>
            </a:pPr>
            <a:r>
              <a:rPr lang="en-GB" sz="2600" i="1">
                <a:latin typeface="Georgia" panose="02040502050405020303" pitchFamily="18" charset="0"/>
              </a:rPr>
              <a:t>the expansion of the Universe is accelerating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72526E7-152E-87E9-F6B4-4DBE0C61B7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8BEDB8E-0A36-652B-D047-CB1C4906F246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VST ATLAS team. Acknowledgement: Durham University/CASU/WFAU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67741F-F2F6-281A-1964-6454B8702D5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34218A-294D-ADEC-EF7F-2106770616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524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6">
            <a:extLst>
              <a:ext uri="{FF2B5EF4-FFF2-40B4-BE49-F238E27FC236}">
                <a16:creationId xmlns:a16="http://schemas.microsoft.com/office/drawing/2014/main" id="{29380B51-8D27-DD92-B9C3-62728C4EF63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34" b="586"/>
          <a:stretch/>
        </p:blipFill>
        <p:spPr>
          <a:xfrm>
            <a:off x="0" y="8792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DE086A-B091-26D9-6F6E-92D2C86AFE48}"/>
              </a:ext>
            </a:extLst>
          </p:cNvPr>
          <p:cNvSpPr txBox="1">
            <a:spLocks/>
          </p:cNvSpPr>
          <p:nvPr/>
        </p:nvSpPr>
        <p:spPr>
          <a:xfrm>
            <a:off x="936624" y="4311512"/>
            <a:ext cx="10317600" cy="160986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b="1"/>
              <a:t>ESO’s NTT</a:t>
            </a:r>
            <a:r>
              <a:rPr lang="en-GB"/>
              <a:t> helped to discover the </a:t>
            </a:r>
            <a:r>
              <a:rPr lang="en-GB" b="1"/>
              <a:t>accelerating expansion </a:t>
            </a:r>
            <a:br>
              <a:rPr lang="en-GB"/>
            </a:br>
            <a:r>
              <a:rPr lang="en-GB"/>
              <a:t>of the Universe by making observations of distant supernovae</a:t>
            </a:r>
            <a:br>
              <a:rPr lang="en-GB"/>
            </a:br>
            <a:endParaRPr lang="en-GB"/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b="1"/>
              <a:t>Nobel Prize in Physics 2011</a:t>
            </a:r>
            <a:endParaRPr lang="en-GB" b="1" i="1">
              <a:latin typeface="Georgia" panose="02040502050405020303" pitchFamily="18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7280EB4-3513-F10E-EF0D-C082786C13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9FA33D1-E582-5499-6ED7-23B47BFAAD2C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Y. Beletsky (LCO)/ES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63BA947-78BE-D94B-6F77-B554C270970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EF7948-8681-34AE-4950-BA5DA274AB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63145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8EEA211-3FAE-3E47-3C1F-182D033AE88A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152400" y="152400"/>
            <a:chExt cx="12192000" cy="6858000"/>
          </a:xfrm>
        </p:grpSpPr>
        <p:pic>
          <p:nvPicPr>
            <p:cNvPr id="3" name="Picture Placeholder 6">
              <a:extLst>
                <a:ext uri="{FF2B5EF4-FFF2-40B4-BE49-F238E27FC236}">
                  <a16:creationId xmlns:a16="http://schemas.microsoft.com/office/drawing/2014/main" id="{3007E230-6914-DAF3-C1BA-F4CF96089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2400" y="152400"/>
              <a:ext cx="12192000" cy="6858000"/>
            </a:xfrm>
            <a:prstGeom prst="rect">
              <a:avLst/>
            </a:prstGeom>
            <a:solidFill>
              <a:srgbClr val="D2108D"/>
            </a:solidFill>
          </p:spPr>
        </p:pic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F352EE1C-A2D9-9EDB-719E-5802339AC46C}"/>
                </a:ext>
              </a:extLst>
            </p:cNvPr>
            <p:cNvSpPr txBox="1">
              <a:spLocks/>
            </p:cNvSpPr>
            <p:nvPr/>
          </p:nvSpPr>
          <p:spPr>
            <a:xfrm>
              <a:off x="1089024" y="3379294"/>
              <a:ext cx="4144195" cy="40421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2400" b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1pPr>
              <a:lvl2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2pPr>
              <a:lvl3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3pPr>
              <a:lvl4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4pPr>
              <a:lvl5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5pPr>
              <a:lvl6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6pPr>
              <a:lvl7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7pPr>
              <a:lvl8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8pPr>
              <a:lvl9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3400"/>
                </a:lnSpc>
                <a:spcBef>
                  <a:spcPts val="0"/>
                </a:spcBef>
              </a:pPr>
              <a:r>
                <a:rPr lang="en-GB" sz="2600" i="1">
                  <a:latin typeface="Georgia" panose="02040502050405020303" pitchFamily="18" charset="0"/>
                </a:rPr>
                <a:t>What planets are out there?</a:t>
              </a:r>
            </a:p>
          </p:txBody>
        </p:sp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412D6B3B-A5BD-66DB-2456-CF36D75BCD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28ED60F-64CC-0F2E-57AE-E2C7D4943631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. Kornmesser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AD021C1-2FE6-ABF6-1980-E48F48E8639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85FD49-1277-2E24-FF1E-120A69C3BC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30631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" descr="A picture containing dark&#10;&#10;Description automatically generated">
            <a:extLst>
              <a:ext uri="{FF2B5EF4-FFF2-40B4-BE49-F238E27FC236}">
                <a16:creationId xmlns:a16="http://schemas.microsoft.com/office/drawing/2014/main" id="{8755DE9F-7BD7-8C80-6F47-715B60941F8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67400" y="0"/>
            <a:ext cx="40572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3" name="Picture Placeholder 13" descr="A picture containing outdoor, sky, mountain, sunset&#10;&#10;Description automatically generated">
            <a:extLst>
              <a:ext uri="{FF2B5EF4-FFF2-40B4-BE49-F238E27FC236}">
                <a16:creationId xmlns:a16="http://schemas.microsoft.com/office/drawing/2014/main" id="{6311BA29-5C52-64E5-98B6-07BF3467FA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34800" y="0"/>
            <a:ext cx="40572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4" name="Picture Placeholder 9" descr="A bright light in the dark&#10;&#10;Description automatically generated with medium confidence">
            <a:extLst>
              <a:ext uri="{FF2B5EF4-FFF2-40B4-BE49-F238E27FC236}">
                <a16:creationId xmlns:a16="http://schemas.microsoft.com/office/drawing/2014/main" id="{86DF2A61-B940-2587-FA0E-901FCC7AA16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0572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F2B1765-7858-4DE6-5614-21EF9E2DC57E}"/>
              </a:ext>
            </a:extLst>
          </p:cNvPr>
          <p:cNvSpPr txBox="1">
            <a:spLocks/>
          </p:cNvSpPr>
          <p:nvPr/>
        </p:nvSpPr>
        <p:spPr>
          <a:xfrm>
            <a:off x="468923" y="4267654"/>
            <a:ext cx="3119354" cy="134902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GB" b="1"/>
              <a:t>2004</a:t>
            </a:r>
          </a:p>
          <a:p>
            <a:r>
              <a:rPr lang="en-GB"/>
              <a:t>ESOs VLT took the </a:t>
            </a:r>
            <a:r>
              <a:rPr lang="en-GB" b="1"/>
              <a:t>first direct image</a:t>
            </a:r>
            <a:r>
              <a:rPr lang="en-GB"/>
              <a:t> of a planet outside our Solar System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8D7F0AC-26AC-2D59-5254-8E8CA7824A1F}"/>
              </a:ext>
            </a:extLst>
          </p:cNvPr>
          <p:cNvSpPr txBox="1">
            <a:spLocks/>
          </p:cNvSpPr>
          <p:nvPr/>
        </p:nvSpPr>
        <p:spPr>
          <a:xfrm>
            <a:off x="4536324" y="4267654"/>
            <a:ext cx="3119354" cy="1044325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GB" b="1"/>
              <a:t>2014</a:t>
            </a:r>
          </a:p>
          <a:p>
            <a:r>
              <a:rPr lang="en-GB"/>
              <a:t>ALMA imaged </a:t>
            </a:r>
            <a:r>
              <a:rPr lang="en-GB" b="1"/>
              <a:t>the birth </a:t>
            </a:r>
            <a:br>
              <a:rPr lang="en-GB" b="1"/>
            </a:br>
            <a:r>
              <a:rPr lang="en-GB" b="1"/>
              <a:t>of planet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195850F-F549-5917-D0EF-A947916F113B}"/>
              </a:ext>
            </a:extLst>
          </p:cNvPr>
          <p:cNvSpPr txBox="1">
            <a:spLocks/>
          </p:cNvSpPr>
          <p:nvPr/>
        </p:nvSpPr>
        <p:spPr>
          <a:xfrm>
            <a:off x="8603724" y="4267654"/>
            <a:ext cx="3119354" cy="165372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GB" b="1"/>
              <a:t>2016</a:t>
            </a:r>
          </a:p>
          <a:p>
            <a:r>
              <a:rPr lang="en-GB"/>
              <a:t>ESO’s 3.6-m telescope revealed that </a:t>
            </a:r>
            <a:r>
              <a:rPr lang="en-GB" b="1"/>
              <a:t>Proxima Centauri</a:t>
            </a:r>
            <a:r>
              <a:rPr lang="en-GB"/>
              <a:t> hosts a planet in its habitable zon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62703F3-B8E6-2ED6-B1B4-E74C6C1A72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48462D0-0B59-0AA1-D4C6-B960654F1F00}"/>
              </a:ext>
            </a:extLst>
          </p:cNvPr>
          <p:cNvSpPr txBox="1"/>
          <p:nvPr/>
        </p:nvSpPr>
        <p:spPr>
          <a:xfrm rot="-5400000">
            <a:off x="52167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. Kornmess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CB54C1-1CB2-8BC5-F407-5723831FBD9B}"/>
              </a:ext>
            </a:extLst>
          </p:cNvPr>
          <p:cNvSpPr txBox="1"/>
          <p:nvPr/>
        </p:nvSpPr>
        <p:spPr>
          <a:xfrm rot="-5400000">
            <a:off x="11493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ALMA (ESO/NAOJ/NRAO)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F5D3008-CAB3-BD86-6A31-DAEDFF910B0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5050B5D-4CB8-82E0-4A66-02A69BF98D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741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6">
            <a:extLst>
              <a:ext uri="{FF2B5EF4-FFF2-40B4-BE49-F238E27FC236}">
                <a16:creationId xmlns:a16="http://schemas.microsoft.com/office/drawing/2014/main" id="{A076EDBF-7165-2000-842A-9BA5562C53C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0AED8C3-DAB4-5B9C-38AA-5EE7E74F4364}"/>
              </a:ext>
            </a:extLst>
          </p:cNvPr>
          <p:cNvSpPr txBox="1">
            <a:spLocks/>
          </p:cNvSpPr>
          <p:nvPr/>
        </p:nvSpPr>
        <p:spPr>
          <a:xfrm>
            <a:off x="936624" y="5106570"/>
            <a:ext cx="10317600" cy="8402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400"/>
              </a:lnSpc>
              <a:spcBef>
                <a:spcPts val="0"/>
              </a:spcBef>
            </a:pPr>
            <a:r>
              <a:rPr lang="en-GB" sz="2600" i="1">
                <a:latin typeface="Georgia" panose="02040502050405020303" pitchFamily="18" charset="0"/>
              </a:rPr>
              <a:t>How do we know </a:t>
            </a:r>
          </a:p>
          <a:p>
            <a:pPr>
              <a:lnSpc>
                <a:spcPts val="3400"/>
              </a:lnSpc>
              <a:spcBef>
                <a:spcPts val="0"/>
              </a:spcBef>
            </a:pPr>
            <a:r>
              <a:rPr lang="en-GB" sz="2600" i="1">
                <a:latin typeface="Georgia" panose="02040502050405020303" pitchFamily="18" charset="0"/>
              </a:rPr>
              <a:t>there is a black hole at the centre of our galaxy?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43CA92D-84F4-ECFA-D177-B03EA226D3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8B29A7E-E34A-E524-EBE1-4A2BDE224E17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G. Hüdepohl (atacamaphoto.com)/ESO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20AD3B3-3D43-28E3-AC12-DC1009E543F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4F9A-B1B6-349D-9A08-264A110B9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37001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1D647FA8-96F8-7B6A-BDB0-3F0D64C04D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E695E22-17C7-66F5-0898-87C0535B87A7}"/>
              </a:ext>
            </a:extLst>
          </p:cNvPr>
          <p:cNvSpPr txBox="1">
            <a:spLocks/>
          </p:cNvSpPr>
          <p:nvPr/>
        </p:nvSpPr>
        <p:spPr>
          <a:xfrm>
            <a:off x="936624" y="3890993"/>
            <a:ext cx="10317600" cy="201927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b="1"/>
              <a:t>30 years </a:t>
            </a:r>
            <a:r>
              <a:rPr lang="en-GB"/>
              <a:t>of observations with various ESO telescopes </a:t>
            </a:r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/>
              <a:t>led to the discovery of a </a:t>
            </a:r>
            <a:r>
              <a:rPr lang="en-GB" b="1"/>
              <a:t>supermassive compact object </a:t>
            </a:r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/>
              <a:t>at the centre of our galaxy</a:t>
            </a:r>
          </a:p>
          <a:p>
            <a:pPr>
              <a:lnSpc>
                <a:spcPts val="3200"/>
              </a:lnSpc>
              <a:spcBef>
                <a:spcPts val="0"/>
              </a:spcBef>
            </a:pPr>
            <a:endParaRPr lang="en-GB"/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b="1"/>
              <a:t>Nobel Prize in Physics 2020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75C512A-FE22-EB35-EA62-293CA9B9A5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3090778-EC3B-2BDB-20E0-DB47C79C7E12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Calçada/spaceengine.org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7374E6-FA71-FAD5-B608-9E1EA6EA53D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A0E226-BF0D-CA84-1649-E2BEA568F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3171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ysClr val="window" lastClr="FFFFFF"/>
      </a:lt1>
      <a:dk2>
        <a:srgbClr val="0077BE"/>
      </a:dk2>
      <a:lt2>
        <a:srgbClr val="FFA300"/>
      </a:lt2>
      <a:accent1>
        <a:srgbClr val="094168"/>
      </a:accent1>
      <a:accent2>
        <a:srgbClr val="00AAE3"/>
      </a:accent2>
      <a:accent3>
        <a:srgbClr val="C9E7FB"/>
      </a:accent3>
      <a:accent4>
        <a:srgbClr val="825C00"/>
      </a:accent4>
      <a:accent5>
        <a:srgbClr val="AE7800"/>
      </a:accent5>
      <a:accent6>
        <a:srgbClr val="FDDE54"/>
      </a:accent6>
      <a:hlink>
        <a:srgbClr val="000000"/>
      </a:hlink>
      <a:folHlink>
        <a:srgbClr val="000000"/>
      </a:folHlink>
    </a:clrScheme>
    <a:fontScheme name="ES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SO_slides_library_01_Introduction.pptx" id="{A55461CE-3D19-A14F-86BF-8F335196E16E}" vid="{3914D138-AB44-6349-AF3B-34877F438179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</Template>
  <TotalTime>0</TotalTime>
  <Words>1173</Words>
  <Application>Microsoft Macintosh PowerPoint</Application>
  <PresentationFormat>Widescreen</PresentationFormat>
  <Paragraphs>228</Paragraphs>
  <Slides>3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9" baseType="lpstr">
      <vt:lpstr>Arial</vt:lpstr>
      <vt:lpstr>Calibri</vt:lpstr>
      <vt:lpstr>Georgia</vt:lpstr>
      <vt:lpstr>HelveticaNeueLT Com 55 Roman</vt:lpstr>
      <vt:lpstr>Offic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falda Martins</dc:creator>
  <cp:lastModifiedBy>Mafalda Martins</cp:lastModifiedBy>
  <cp:revision>1</cp:revision>
  <cp:lastPrinted>2022-12-12T15:42:42Z</cp:lastPrinted>
  <dcterms:created xsi:type="dcterms:W3CDTF">2025-07-22T08:19:34Z</dcterms:created>
  <dcterms:modified xsi:type="dcterms:W3CDTF">2025-07-22T08:19:59Z</dcterms:modified>
</cp:coreProperties>
</file>